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1.xml" ContentType="application/vnd.openxmlformats-officedocument.presentationml.notesSlide+xml"/>
  <Override PartName="/ppt/charts/chart115.xml" ContentType="application/vnd.openxmlformats-officedocument.drawingml.chart+xml"/>
  <Override PartName="/ppt/tags/tag173.xml" ContentType="application/vnd.openxmlformats-officedocument.presentationml.tags+xml"/>
  <Override PartName="/ppt/notesSlides/notesSlide2.xml" ContentType="application/vnd.openxmlformats-officedocument.presentationml.notesSlide+xml"/>
  <Override PartName="/ppt/charts/chart116.xml" ContentType="application/vnd.openxmlformats-officedocument.drawingml.chart+xml"/>
  <Override PartName="/ppt/tags/tag174.xml" ContentType="application/vnd.openxmlformats-officedocument.presentationml.tags+xml"/>
  <Override PartName="/ppt/notesSlides/notesSlide3.xml" ContentType="application/vnd.openxmlformats-officedocument.presentationml.notesSlide+xml"/>
  <Override PartName="/ppt/charts/chart117.xml" ContentType="application/vnd.openxmlformats-officedocument.drawingml.chart+xml"/>
  <Override PartName="/ppt/tags/tag175.xml" ContentType="application/vnd.openxmlformats-officedocument.presentationml.tags+xml"/>
  <Override PartName="/ppt/notesSlides/notesSlide4.xml" ContentType="application/vnd.openxmlformats-officedocument.presentationml.notesSlide+xml"/>
  <Override PartName="/ppt/charts/chart118.xml" ContentType="application/vnd.openxmlformats-officedocument.drawingml.chart+xml"/>
  <Override PartName="/ppt/tags/tag176.xml" ContentType="application/vnd.openxmlformats-officedocument.presentationml.tags+xml"/>
  <Override PartName="/ppt/notesSlides/notesSlide5.xml" ContentType="application/vnd.openxmlformats-officedocument.presentationml.notesSlide+xml"/>
  <Override PartName="/ppt/charts/chart119.xml" ContentType="application/vnd.openxmlformats-officedocument.drawingml.chart+xml"/>
  <Override PartName="/ppt/tags/tag177.xml" ContentType="application/vnd.openxmlformats-officedocument.presentationml.tags+xml"/>
  <Override PartName="/ppt/notesSlides/notesSlide6.xml" ContentType="application/vnd.openxmlformats-officedocument.presentationml.notesSlide+xml"/>
  <Override PartName="/ppt/charts/chart120.xml" ContentType="application/vnd.openxmlformats-officedocument.drawingml.chart+xml"/>
  <Override PartName="/ppt/tags/tag178.xml" ContentType="application/vnd.openxmlformats-officedocument.presentationml.tags+xml"/>
  <Override PartName="/ppt/notesSlides/notesSlide7.xml" ContentType="application/vnd.openxmlformats-officedocument.presentationml.notesSlide+xml"/>
  <Override PartName="/ppt/charts/chart121.xml" ContentType="application/vnd.openxmlformats-officedocument.drawingml.chart+xml"/>
  <Override PartName="/ppt/tags/tag179.xml" ContentType="application/vnd.openxmlformats-officedocument.presentationml.tags+xml"/>
  <Override PartName="/ppt/notesSlides/notesSlide8.xml" ContentType="application/vnd.openxmlformats-officedocument.presentationml.notesSlide+xml"/>
  <Override PartName="/ppt/charts/chart122.xml" ContentType="application/vnd.openxmlformats-officedocument.drawingml.chart+xml"/>
  <Override PartName="/ppt/tags/tag180.xml" ContentType="application/vnd.openxmlformats-officedocument.presentationml.tags+xml"/>
  <Override PartName="/ppt/notesSlides/notesSlide9.xml" ContentType="application/vnd.openxmlformats-officedocument.presentationml.notesSlide+xml"/>
  <Override PartName="/ppt/charts/chart123.xml" ContentType="application/vnd.openxmlformats-officedocument.drawingml.chart+xml"/>
  <Override PartName="/ppt/tags/tag181.xml" ContentType="application/vnd.openxmlformats-officedocument.presentationml.tags+xml"/>
  <Override PartName="/ppt/notesSlides/notesSlide10.xml" ContentType="application/vnd.openxmlformats-officedocument.presentationml.notesSlide+xml"/>
  <Override PartName="/ppt/charts/chart124.xml" ContentType="application/vnd.openxmlformats-officedocument.drawingml.chart+xml"/>
  <Override PartName="/ppt/tags/tag182.xml" ContentType="application/vnd.openxmlformats-officedocument.presentationml.tags+xml"/>
  <Override PartName="/ppt/notesSlides/notesSlide11.xml" ContentType="application/vnd.openxmlformats-officedocument.presentationml.notesSlide+xml"/>
  <Override PartName="/ppt/charts/chart125.xml" ContentType="application/vnd.openxmlformats-officedocument.drawingml.chart+xml"/>
  <Override PartName="/ppt/tags/tag183.xml" ContentType="application/vnd.openxmlformats-officedocument.presentationml.tags+xml"/>
  <Override PartName="/ppt/notesSlides/notesSlide12.xml" ContentType="application/vnd.openxmlformats-officedocument.presentationml.notesSlide+xml"/>
  <Override PartName="/ppt/charts/chart126.xml" ContentType="application/vnd.openxmlformats-officedocument.drawingml.chart+xml"/>
  <Override PartName="/ppt/tags/tag184.xml" ContentType="application/vnd.openxmlformats-officedocument.presentationml.tags+xml"/>
  <Override PartName="/ppt/notesSlides/notesSlide13.xml" ContentType="application/vnd.openxmlformats-officedocument.presentationml.notesSlide+xml"/>
  <Override PartName="/ppt/charts/chart127.xml" ContentType="application/vnd.openxmlformats-officedocument.drawingml.chart+xml"/>
  <Override PartName="/ppt/tags/tag185.xml" ContentType="application/vnd.openxmlformats-officedocument.presentationml.tags+xml"/>
  <Override PartName="/ppt/notesSlides/notesSlide14.xml" ContentType="application/vnd.openxmlformats-officedocument.presentationml.notesSlide+xml"/>
  <Override PartName="/ppt/charts/chart128.xml" ContentType="application/vnd.openxmlformats-officedocument.drawingml.chart+xml"/>
  <Override PartName="/ppt/tags/tag186.xml" ContentType="application/vnd.openxmlformats-officedocument.presentationml.tags+xml"/>
  <Override PartName="/ppt/notesSlides/notesSlide15.xml" ContentType="application/vnd.openxmlformats-officedocument.presentationml.notesSlide+xml"/>
  <Override PartName="/ppt/charts/chart129.xml" ContentType="application/vnd.openxmlformats-officedocument.drawingml.chart+xml"/>
  <Override PartName="/ppt/tags/tag187.xml" ContentType="application/vnd.openxmlformats-officedocument.presentationml.tags+xml"/>
  <Override PartName="/ppt/notesSlides/notesSlide16.xml" ContentType="application/vnd.openxmlformats-officedocument.presentationml.notesSlide+xml"/>
  <Override PartName="/ppt/charts/chart130.xml" ContentType="application/vnd.openxmlformats-officedocument.drawingml.chart+xml"/>
  <Override PartName="/ppt/tags/tag188.xml" ContentType="application/vnd.openxmlformats-officedocument.presentationml.tags+xml"/>
  <Override PartName="/ppt/notesSlides/notesSlide17.xml" ContentType="application/vnd.openxmlformats-officedocument.presentationml.notesSlide+xml"/>
  <Override PartName="/ppt/charts/chart131.xml" ContentType="application/vnd.openxmlformats-officedocument.drawingml.chart+xml"/>
  <Override PartName="/ppt/tags/tag189.xml" ContentType="application/vnd.openxmlformats-officedocument.presentationml.tags+xml"/>
  <Override PartName="/ppt/notesSlides/notesSlide18.xml" ContentType="application/vnd.openxmlformats-officedocument.presentationml.notesSlide+xml"/>
  <Override PartName="/ppt/charts/chart132.xml" ContentType="application/vnd.openxmlformats-officedocument.drawingml.chart+xml"/>
  <Override PartName="/ppt/tags/tag190.xml" ContentType="application/vnd.openxmlformats-officedocument.presentationml.tags+xml"/>
  <Override PartName="/ppt/notesSlides/notesSlide19.xml" ContentType="application/vnd.openxmlformats-officedocument.presentationml.notesSlide+xml"/>
  <Override PartName="/ppt/charts/chart133.xml" ContentType="application/vnd.openxmlformats-officedocument.drawingml.chart+xml"/>
  <Override PartName="/ppt/tags/tag191.xml" ContentType="application/vnd.openxmlformats-officedocument.presentationml.tags+xml"/>
  <Override PartName="/ppt/notesSlides/notesSlide20.xml" ContentType="application/vnd.openxmlformats-officedocument.presentationml.notesSlide+xml"/>
  <Override PartName="/ppt/charts/chart134.xml" ContentType="application/vnd.openxmlformats-officedocument.drawingml.chart+xml"/>
  <Override PartName="/ppt/tags/tag192.xml" ContentType="application/vnd.openxmlformats-officedocument.presentationml.tags+xml"/>
  <Override PartName="/ppt/notesSlides/notesSlide21.xml" ContentType="application/vnd.openxmlformats-officedocument.presentationml.notesSlide+xml"/>
  <Override PartName="/ppt/charts/chart135.xml" ContentType="application/vnd.openxmlformats-officedocument.drawingml.chart+xml"/>
  <Override PartName="/ppt/tags/tag193.xml" ContentType="application/vnd.openxmlformats-officedocument.presentationml.tags+xml"/>
  <Override PartName="/ppt/notesSlides/notesSlide22.xml" ContentType="application/vnd.openxmlformats-officedocument.presentationml.notesSlide+xml"/>
  <Override PartName="/ppt/charts/chart136.xml" ContentType="application/vnd.openxmlformats-officedocument.drawingml.chart+xml"/>
  <Override PartName="/ppt/tags/tag194.xml" ContentType="application/vnd.openxmlformats-officedocument.presentationml.tags+xml"/>
  <Override PartName="/ppt/notesSlides/notesSlide23.xml" ContentType="application/vnd.openxmlformats-officedocument.presentationml.notesSlide+xml"/>
  <Override PartName="/ppt/charts/chart137.xml" ContentType="application/vnd.openxmlformats-officedocument.drawingml.chart+xml"/>
  <Override PartName="/ppt/tags/tag195.xml" ContentType="application/vnd.openxmlformats-officedocument.presentationml.tags+xml"/>
  <Override PartName="/ppt/notesSlides/notesSlide24.xml" ContentType="application/vnd.openxmlformats-officedocument.presentationml.notesSlide+xml"/>
  <Override PartName="/ppt/charts/chart138.xml" ContentType="application/vnd.openxmlformats-officedocument.drawingml.chart+xml"/>
  <Override PartName="/ppt/tags/tag196.xml" ContentType="application/vnd.openxmlformats-officedocument.presentationml.tags+xml"/>
  <Override PartName="/ppt/notesSlides/notesSlide25.xml" ContentType="application/vnd.openxmlformats-officedocument.presentationml.notesSlide+xml"/>
  <Override PartName="/ppt/charts/chart139.xml" ContentType="application/vnd.openxmlformats-officedocument.drawingml.chart+xml"/>
  <Override PartName="/ppt/tags/tag197.xml" ContentType="application/vnd.openxmlformats-officedocument.presentationml.tags+xml"/>
  <Override PartName="/ppt/notesSlides/notesSlide26.xml" ContentType="application/vnd.openxmlformats-officedocument.presentationml.notesSlide+xml"/>
  <Override PartName="/ppt/charts/chart140.xml" ContentType="application/vnd.openxmlformats-officedocument.drawingml.chart+xml"/>
  <Override PartName="/ppt/tags/tag198.xml" ContentType="application/vnd.openxmlformats-officedocument.presentationml.tags+xml"/>
  <Override PartName="/ppt/notesSlides/notesSlide27.xml" ContentType="application/vnd.openxmlformats-officedocument.presentationml.notesSlide+xml"/>
  <Override PartName="/ppt/charts/chart141.xml" ContentType="application/vnd.openxmlformats-officedocument.drawingml.chart+xml"/>
  <Override PartName="/ppt/tags/tag199.xml" ContentType="application/vnd.openxmlformats-officedocument.presentationml.tags+xml"/>
  <Override PartName="/ppt/notesSlides/notesSlide28.xml" ContentType="application/vnd.openxmlformats-officedocument.presentationml.notesSlide+xml"/>
  <Override PartName="/ppt/charts/chart142.xml" ContentType="application/vnd.openxmlformats-officedocument.drawingml.chart+xml"/>
  <Override PartName="/ppt/tags/tag200.xml" ContentType="application/vnd.openxmlformats-officedocument.presentationml.tags+xml"/>
  <Override PartName="/ppt/notesSlides/notesSlide29.xml" ContentType="application/vnd.openxmlformats-officedocument.presentationml.notesSlide+xml"/>
  <Override PartName="/ppt/charts/chart143.xml" ContentType="application/vnd.openxmlformats-officedocument.drawingml.chart+xml"/>
  <Override PartName="/ppt/tags/tag201.xml" ContentType="application/vnd.openxmlformats-officedocument.presentationml.tags+xml"/>
  <Override PartName="/ppt/notesSlides/notesSlide30.xml" ContentType="application/vnd.openxmlformats-officedocument.presentationml.notesSlide+xml"/>
  <Override PartName="/ppt/charts/chart144.xml" ContentType="application/vnd.openxmlformats-officedocument.drawingml.chart+xml"/>
  <Override PartName="/ppt/tags/tag202.xml" ContentType="application/vnd.openxmlformats-officedocument.presentationml.tags+xml"/>
  <Override PartName="/ppt/notesSlides/notesSlide31.xml" ContentType="application/vnd.openxmlformats-officedocument.presentationml.notesSlide+xml"/>
  <Override PartName="/ppt/charts/chart145.xml" ContentType="application/vnd.openxmlformats-officedocument.drawingml.chart+xml"/>
  <Override PartName="/ppt/tags/tag203.xml" ContentType="application/vnd.openxmlformats-officedocument.presentationml.tags+xml"/>
  <Override PartName="/ppt/notesSlides/notesSlide32.xml" ContentType="application/vnd.openxmlformats-officedocument.presentationml.notesSlide+xml"/>
  <Override PartName="/ppt/charts/chart146.xml" ContentType="application/vnd.openxmlformats-officedocument.drawingml.chart+xml"/>
  <Override PartName="/ppt/tags/tag204.xml" ContentType="application/vnd.openxmlformats-officedocument.presentationml.tags+xml"/>
  <Override PartName="/ppt/notesSlides/notesSlide33.xml" ContentType="application/vnd.openxmlformats-officedocument.presentationml.notesSlide+xml"/>
  <Override PartName="/ppt/charts/chart147.xml" ContentType="application/vnd.openxmlformats-officedocument.drawingml.chart+xml"/>
  <Override PartName="/ppt/tags/tag205.xml" ContentType="application/vnd.openxmlformats-officedocument.presentationml.tags+xml"/>
  <Override PartName="/ppt/notesSlides/notesSlide34.xml" ContentType="application/vnd.openxmlformats-officedocument.presentationml.notesSlide+xml"/>
  <Override PartName="/ppt/charts/chart148.xml" ContentType="application/vnd.openxmlformats-officedocument.drawingml.chart+xml"/>
  <Override PartName="/ppt/tags/tag206.xml" ContentType="application/vnd.openxmlformats-officedocument.presentationml.tags+xml"/>
  <Override PartName="/ppt/notesSlides/notesSlide35.xml" ContentType="application/vnd.openxmlformats-officedocument.presentationml.notesSlide+xml"/>
  <Override PartName="/ppt/charts/chart149.xml" ContentType="application/vnd.openxmlformats-officedocument.drawingml.chart+xml"/>
  <Override PartName="/ppt/tags/tag207.xml" ContentType="application/vnd.openxmlformats-officedocument.presentationml.tags+xml"/>
  <Override PartName="/ppt/notesSlides/notesSlide36.xml" ContentType="application/vnd.openxmlformats-officedocument.presentationml.notesSlide+xml"/>
  <Override PartName="/ppt/charts/chart150.xml" ContentType="application/vnd.openxmlformats-officedocument.drawingml.chart+xml"/>
  <Override PartName="/ppt/tags/tag208.xml" ContentType="application/vnd.openxmlformats-officedocument.presentationml.tags+xml"/>
  <Override PartName="/ppt/notesSlides/notesSlide37.xml" ContentType="application/vnd.openxmlformats-officedocument.presentationml.notesSlide+xml"/>
  <Override PartName="/ppt/charts/chart151.xml" ContentType="application/vnd.openxmlformats-officedocument.drawingml.chart+xml"/>
  <Override PartName="/ppt/tags/tag209.xml" ContentType="application/vnd.openxmlformats-officedocument.presentationml.tags+xml"/>
  <Override PartName="/ppt/notesSlides/notesSlide38.xml" ContentType="application/vnd.openxmlformats-officedocument.presentationml.notesSlide+xml"/>
  <Override PartName="/ppt/charts/chart152.xml" ContentType="application/vnd.openxmlformats-officedocument.drawingml.chart+xml"/>
  <Override PartName="/ppt/tags/tag210.xml" ContentType="application/vnd.openxmlformats-officedocument.presentationml.tags+xml"/>
  <Override PartName="/ppt/notesSlides/notesSlide39.xml" ContentType="application/vnd.openxmlformats-officedocument.presentationml.notesSlide+xml"/>
  <Override PartName="/ppt/charts/chart153.xml" ContentType="application/vnd.openxmlformats-officedocument.drawingml.chart+xml"/>
  <Override PartName="/ppt/tags/tag211.xml" ContentType="application/vnd.openxmlformats-officedocument.presentationml.tags+xml"/>
  <Override PartName="/ppt/notesSlides/notesSlide40.xml" ContentType="application/vnd.openxmlformats-officedocument.presentationml.notesSlide+xml"/>
  <Override PartName="/ppt/charts/chart154.xml" ContentType="application/vnd.openxmlformats-officedocument.drawingml.chart+xml"/>
  <Override PartName="/ppt/tags/tag212.xml" ContentType="application/vnd.openxmlformats-officedocument.presentationml.tags+xml"/>
  <Override PartName="/ppt/notesSlides/notesSlide41.xml" ContentType="application/vnd.openxmlformats-officedocument.presentationml.notesSlide+xml"/>
  <Override PartName="/ppt/charts/chart155.xml" ContentType="application/vnd.openxmlformats-officedocument.drawingml.chart+xml"/>
  <Override PartName="/ppt/tags/tag213.xml" ContentType="application/vnd.openxmlformats-officedocument.presentationml.tags+xml"/>
  <Override PartName="/ppt/notesSlides/notesSlide42.xml" ContentType="application/vnd.openxmlformats-officedocument.presentationml.notesSlide+xml"/>
  <Override PartName="/ppt/charts/chart156.xml" ContentType="application/vnd.openxmlformats-officedocument.drawingml.chart+xml"/>
  <Override PartName="/ppt/tags/tag214.xml" ContentType="application/vnd.openxmlformats-officedocument.presentationml.tags+xml"/>
  <Override PartName="/ppt/notesSlides/notesSlide43.xml" ContentType="application/vnd.openxmlformats-officedocument.presentationml.notesSlide+xml"/>
  <Override PartName="/ppt/charts/chart157.xml" ContentType="application/vnd.openxmlformats-officedocument.drawingml.chart+xml"/>
  <Override PartName="/ppt/tags/tag215.xml" ContentType="application/vnd.openxmlformats-officedocument.presentationml.tags+xml"/>
  <Override PartName="/ppt/notesSlides/notesSlide44.xml" ContentType="application/vnd.openxmlformats-officedocument.presentationml.notesSlide+xml"/>
  <Override PartName="/ppt/charts/chart158.xml" ContentType="application/vnd.openxmlformats-officedocument.drawingml.chart+xml"/>
  <Override PartName="/ppt/tags/tag216.xml" ContentType="application/vnd.openxmlformats-officedocument.presentationml.tags+xml"/>
  <Override PartName="/ppt/notesSlides/notesSlide45.xml" ContentType="application/vnd.openxmlformats-officedocument.presentationml.notesSlide+xml"/>
  <Override PartName="/ppt/charts/chart159.xml" ContentType="application/vnd.openxmlformats-officedocument.drawingml.chart+xml"/>
  <Override PartName="/ppt/tags/tag217.xml" ContentType="application/vnd.openxmlformats-officedocument.presentationml.tags+xml"/>
  <Override PartName="/ppt/notesSlides/notesSlide46.xml" ContentType="application/vnd.openxmlformats-officedocument.presentationml.notesSlide+xml"/>
  <Override PartName="/ppt/charts/chart160.xml" ContentType="application/vnd.openxmlformats-officedocument.drawingml.chart+xml"/>
  <Override PartName="/ppt/tags/tag218.xml" ContentType="application/vnd.openxmlformats-officedocument.presentationml.tags+xml"/>
  <Override PartName="/ppt/notesSlides/notesSlide47.xml" ContentType="application/vnd.openxmlformats-officedocument.presentationml.notesSlide+xml"/>
  <Override PartName="/ppt/charts/chart161.xml" ContentType="application/vnd.openxmlformats-officedocument.drawingml.chart+xml"/>
  <Override PartName="/ppt/tags/tag219.xml" ContentType="application/vnd.openxmlformats-officedocument.presentationml.tags+xml"/>
  <Override PartName="/ppt/notesSlides/notesSlide48.xml" ContentType="application/vnd.openxmlformats-officedocument.presentationml.notesSlide+xml"/>
  <Override PartName="/ppt/charts/chart162.xml" ContentType="application/vnd.openxmlformats-officedocument.drawingml.chart+xml"/>
  <Override PartName="/ppt/tags/tag220.xml" ContentType="application/vnd.openxmlformats-officedocument.presentationml.tags+xml"/>
  <Override PartName="/ppt/notesSlides/notesSlide49.xml" ContentType="application/vnd.openxmlformats-officedocument.presentationml.notesSlide+xml"/>
  <Override PartName="/ppt/charts/chart163.xml" ContentType="application/vnd.openxmlformats-officedocument.drawingml.chart+xml"/>
  <Override PartName="/ppt/tags/tag221.xml" ContentType="application/vnd.openxmlformats-officedocument.presentationml.tags+xml"/>
  <Override PartName="/ppt/notesSlides/notesSlide50.xml" ContentType="application/vnd.openxmlformats-officedocument.presentationml.notesSlide+xml"/>
  <Override PartName="/ppt/charts/chart164.xml" ContentType="application/vnd.openxmlformats-officedocument.drawingml.chart+xml"/>
  <Override PartName="/ppt/tags/tag222.xml" ContentType="application/vnd.openxmlformats-officedocument.presentationml.tags+xml"/>
  <Override PartName="/ppt/notesSlides/notesSlide51.xml" ContentType="application/vnd.openxmlformats-officedocument.presentationml.notesSlide+xml"/>
  <Override PartName="/ppt/charts/chart165.xml" ContentType="application/vnd.openxmlformats-officedocument.drawingml.chart+xml"/>
  <Override PartName="/ppt/tags/tag223.xml" ContentType="application/vnd.openxmlformats-officedocument.presentationml.tags+xml"/>
  <Override PartName="/ppt/charts/chart166.xml" ContentType="application/vnd.openxmlformats-officedocument.drawingml.chart+xml"/>
  <Override PartName="/ppt/tags/tag224.xml" ContentType="application/vnd.openxmlformats-officedocument.presentationml.tags+xml"/>
  <Override PartName="/ppt/charts/chart167.xml" ContentType="application/vnd.openxmlformats-officedocument.drawingml.chart+xml"/>
  <Override PartName="/ppt/tags/tag225.xml" ContentType="application/vnd.openxmlformats-officedocument.presentationml.tags+xml"/>
  <Override PartName="/ppt/charts/chart168.xml" ContentType="application/vnd.openxmlformats-officedocument.drawingml.chart+xml"/>
  <Override PartName="/ppt/tags/tag226.xml" ContentType="application/vnd.openxmlformats-officedocument.presentationml.tags+xml"/>
  <Override PartName="/ppt/charts/chart169.xml" ContentType="application/vnd.openxmlformats-officedocument.drawingml.chart+xml"/>
  <Override PartName="/ppt/tags/tag227.xml" ContentType="application/vnd.openxmlformats-officedocument.presentationml.tags+xml"/>
  <Override PartName="/ppt/charts/chart170.xml" ContentType="application/vnd.openxmlformats-officedocument.drawingml.chart+xml"/>
  <Override PartName="/ppt/tags/tag228.xml" ContentType="application/vnd.openxmlformats-officedocument.presentationml.tags+xml"/>
  <Override PartName="/ppt/charts/chart171.xml" ContentType="application/vnd.openxmlformats-officedocument.drawingml.chart+xml"/>
  <Override PartName="/ppt/tags/tag229.xml" ContentType="application/vnd.openxmlformats-officedocument.presentationml.tags+xml"/>
  <Override PartName="/ppt/charts/chart172.xml" ContentType="application/vnd.openxmlformats-officedocument.drawingml.chart+xml"/>
  <Override PartName="/ppt/tags/tag230.xml" ContentType="application/vnd.openxmlformats-officedocument.presentationml.tags+xml"/>
  <Override PartName="/ppt/charts/chart173.xml" ContentType="application/vnd.openxmlformats-officedocument.drawingml.chart+xml"/>
  <Override PartName="/ppt/tags/tag231.xml" ContentType="application/vnd.openxmlformats-officedocument.presentationml.tags+xml"/>
  <Override PartName="/ppt/charts/chart174.xml" ContentType="application/vnd.openxmlformats-officedocument.drawingml.chart+xml"/>
  <Override PartName="/ppt/tags/tag232.xml" ContentType="application/vnd.openxmlformats-officedocument.presentationml.tags+xml"/>
  <Override PartName="/ppt/charts/chart175.xml" ContentType="application/vnd.openxmlformats-officedocument.drawingml.chart+xml"/>
  <Override PartName="/ppt/tags/tag233.xml" ContentType="application/vnd.openxmlformats-officedocument.presentationml.tags+xml"/>
  <Override PartName="/ppt/charts/chart176.xml" ContentType="application/vnd.openxmlformats-officedocument.drawingml.chart+xml"/>
  <Override PartName="/ppt/tags/tag234.xml" ContentType="application/vnd.openxmlformats-officedocument.presentationml.tags+xml"/>
  <Override PartName="/ppt/charts/chart177.xml" ContentType="application/vnd.openxmlformats-officedocument.drawingml.chart+xml"/>
  <Override PartName="/ppt/tags/tag235.xml" ContentType="application/vnd.openxmlformats-officedocument.presentationml.tags+xml"/>
  <Override PartName="/ppt/charts/chart178.xml" ContentType="application/vnd.openxmlformats-officedocument.drawingml.chart+xml"/>
  <Override PartName="/ppt/tags/tag236.xml" ContentType="application/vnd.openxmlformats-officedocument.presentationml.tags+xml"/>
  <Override PartName="/ppt/charts/chart179.xml" ContentType="application/vnd.openxmlformats-officedocument.drawingml.chart+xml"/>
  <Override PartName="/ppt/tags/tag237.xml" ContentType="application/vnd.openxmlformats-officedocument.presentationml.tags+xml"/>
  <Override PartName="/ppt/charts/chart180.xml" ContentType="application/vnd.openxmlformats-officedocument.drawingml.chart+xml"/>
  <Override PartName="/ppt/tags/tag238.xml" ContentType="application/vnd.openxmlformats-officedocument.presentationml.tags+xml"/>
  <Override PartName="/ppt/charts/chart181.xml" ContentType="application/vnd.openxmlformats-officedocument.drawingml.chart+xml"/>
  <Override PartName="/ppt/tags/tag239.xml" ContentType="application/vnd.openxmlformats-officedocument.presentationml.tags+xml"/>
  <Override PartName="/ppt/charts/chart182.xml" ContentType="application/vnd.openxmlformats-officedocument.drawingml.chart+xml"/>
  <Override PartName="/ppt/tags/tag240.xml" ContentType="application/vnd.openxmlformats-officedocument.presentationml.tags+xml"/>
  <Override PartName="/ppt/charts/chart183.xml" ContentType="application/vnd.openxmlformats-officedocument.drawingml.chart+xml"/>
  <Override PartName="/ppt/tags/tag241.xml" ContentType="application/vnd.openxmlformats-officedocument.presentationml.tags+xml"/>
  <Override PartName="/ppt/charts/chart184.xml" ContentType="application/vnd.openxmlformats-officedocument.drawingml.chart+xml"/>
  <Override PartName="/ppt/tags/tag242.xml" ContentType="application/vnd.openxmlformats-officedocument.presentationml.tags+xml"/>
  <Override PartName="/ppt/charts/chart185.xml" ContentType="application/vnd.openxmlformats-officedocument.drawingml.chart+xml"/>
  <Override PartName="/ppt/tags/tag243.xml" ContentType="application/vnd.openxmlformats-officedocument.presentationml.tags+xml"/>
  <Override PartName="/ppt/charts/chart186.xml" ContentType="application/vnd.openxmlformats-officedocument.drawingml.chart+xml"/>
  <Override PartName="/ppt/tags/tag244.xml" ContentType="application/vnd.openxmlformats-officedocument.presentationml.tags+xml"/>
  <Override PartName="/ppt/charts/chart187.xml" ContentType="application/vnd.openxmlformats-officedocument.drawingml.chart+xml"/>
  <Override PartName="/ppt/tags/tag245.xml" ContentType="application/vnd.openxmlformats-officedocument.presentationml.tags+xml"/>
  <Override PartName="/ppt/charts/chart188.xml" ContentType="application/vnd.openxmlformats-officedocument.drawingml.chart+xml"/>
  <Override PartName="/ppt/tags/tag246.xml" ContentType="application/vnd.openxmlformats-officedocument.presentationml.tags+xml"/>
  <Override PartName="/ppt/charts/chart189.xml" ContentType="application/vnd.openxmlformats-officedocument.drawingml.chart+xml"/>
  <Override PartName="/ppt/tags/tag247.xml" ContentType="application/vnd.openxmlformats-officedocument.presentationml.tags+xml"/>
  <Override PartName="/ppt/charts/chart190.xml" ContentType="application/vnd.openxmlformats-officedocument.drawingml.chart+xml"/>
  <Override PartName="/ppt/tags/tag248.xml" ContentType="application/vnd.openxmlformats-officedocument.presentationml.tags+xml"/>
  <Override PartName="/ppt/charts/chart191.xml" ContentType="application/vnd.openxmlformats-officedocument.drawingml.chart+xml"/>
  <Override PartName="/ppt/tags/tag249.xml" ContentType="application/vnd.openxmlformats-officedocument.presentationml.tags+xml"/>
  <Override PartName="/ppt/charts/chart192.xml" ContentType="application/vnd.openxmlformats-officedocument.drawingml.chart+xml"/>
  <Override PartName="/ppt/tags/tag250.xml" ContentType="application/vnd.openxmlformats-officedocument.presentationml.tags+xml"/>
  <Override PartName="/ppt/charts/chart193.xml" ContentType="application/vnd.openxmlformats-officedocument.drawingml.chart+xml"/>
  <Override PartName="/ppt/tags/tag251.xml" ContentType="application/vnd.openxmlformats-officedocument.presentationml.tags+xml"/>
  <Override PartName="/ppt/charts/chart194.xml" ContentType="application/vnd.openxmlformats-officedocument.drawingml.chart+xml"/>
  <Override PartName="/ppt/tags/tag252.xml" ContentType="application/vnd.openxmlformats-officedocument.presentationml.tags+xml"/>
  <Override PartName="/ppt/charts/chart195.xml" ContentType="application/vnd.openxmlformats-officedocument.drawingml.chart+xml"/>
  <Override PartName="/ppt/tags/tag253.xml" ContentType="application/vnd.openxmlformats-officedocument.presentationml.tags+xml"/>
  <Override PartName="/ppt/charts/chart196.xml" ContentType="application/vnd.openxmlformats-officedocument.drawingml.chart+xml"/>
  <Override PartName="/ppt/tags/tag254.xml" ContentType="application/vnd.openxmlformats-officedocument.presentationml.tags+xml"/>
  <Override PartName="/ppt/charts/chart197.xml" ContentType="application/vnd.openxmlformats-officedocument.drawingml.chart+xml"/>
  <Override PartName="/ppt/tags/tag255.xml" ContentType="application/vnd.openxmlformats-officedocument.presentationml.tags+xml"/>
  <Override PartName="/ppt/charts/chart198.xml" ContentType="application/vnd.openxmlformats-officedocument.drawingml.chart+xml"/>
  <Override PartName="/ppt/tags/tag256.xml" ContentType="application/vnd.openxmlformats-officedocument.presentationml.tags+xml"/>
  <Override PartName="/ppt/charts/chart199.xml" ContentType="application/vnd.openxmlformats-officedocument.drawingml.chart+xml"/>
  <Override PartName="/ppt/tags/tag257.xml" ContentType="application/vnd.openxmlformats-officedocument.presentationml.tags+xml"/>
  <Override PartName="/ppt/charts/chart200.xml" ContentType="application/vnd.openxmlformats-officedocument.drawingml.chart+xml"/>
  <Override PartName="/ppt/tags/tag258.xml" ContentType="application/vnd.openxmlformats-officedocument.presentationml.tags+xml"/>
  <Override PartName="/ppt/charts/chart201.xml" ContentType="application/vnd.openxmlformats-officedocument.drawingml.chart+xml"/>
  <Override PartName="/ppt/tags/tag259.xml" ContentType="application/vnd.openxmlformats-officedocument.presentationml.tags+xml"/>
  <Override PartName="/ppt/charts/chart202.xml" ContentType="application/vnd.openxmlformats-officedocument.drawingml.chart+xml"/>
  <Override PartName="/ppt/tags/tag260.xml" ContentType="application/vnd.openxmlformats-officedocument.presentationml.tags+xml"/>
  <Override PartName="/ppt/charts/chart203.xml" ContentType="application/vnd.openxmlformats-officedocument.drawingml.chart+xml"/>
  <Override PartName="/ppt/tags/tag261.xml" ContentType="application/vnd.openxmlformats-officedocument.presentationml.tags+xml"/>
  <Override PartName="/ppt/charts/chart204.xml" ContentType="application/vnd.openxmlformats-officedocument.drawingml.chart+xml"/>
  <Override PartName="/ppt/tags/tag262.xml" ContentType="application/vnd.openxmlformats-officedocument.presentationml.tags+xml"/>
  <Override PartName="/ppt/charts/chart205.xml" ContentType="application/vnd.openxmlformats-officedocument.drawingml.chart+xml"/>
  <Override PartName="/ppt/tags/tag263.xml" ContentType="application/vnd.openxmlformats-officedocument.presentationml.tags+xml"/>
  <Override PartName="/ppt/charts/chart206.xml" ContentType="application/vnd.openxmlformats-officedocument.drawingml.chart+xml"/>
  <Override PartName="/ppt/tags/tag264.xml" ContentType="application/vnd.openxmlformats-officedocument.presentationml.tags+xml"/>
  <Override PartName="/ppt/charts/chart207.xml" ContentType="application/vnd.openxmlformats-officedocument.drawingml.chart+xml"/>
  <Override PartName="/ppt/tags/tag265.xml" ContentType="application/vnd.openxmlformats-officedocument.presentationml.tags+xml"/>
  <Override PartName="/ppt/charts/chart208.xml" ContentType="application/vnd.openxmlformats-officedocument.drawingml.chart+xml"/>
  <Override PartName="/ppt/tags/tag266.xml" ContentType="application/vnd.openxmlformats-officedocument.presentationml.tags+xml"/>
  <Override PartName="/ppt/charts/chart209.xml" ContentType="application/vnd.openxmlformats-officedocument.drawingml.chart+xml"/>
  <Override PartName="/ppt/tags/tag267.xml" ContentType="application/vnd.openxmlformats-officedocument.presentationml.tags+xml"/>
  <Override PartName="/ppt/charts/chart210.xml" ContentType="application/vnd.openxmlformats-officedocument.drawingml.chart+xml"/>
  <Override PartName="/ppt/tags/tag268.xml" ContentType="application/vnd.openxmlformats-officedocument.presentationml.tags+xml"/>
  <Override PartName="/ppt/charts/chart211.xml" ContentType="application/vnd.openxmlformats-officedocument.drawingml.chart+xml"/>
  <Override PartName="/ppt/tags/tag269.xml" ContentType="application/vnd.openxmlformats-officedocument.presentationml.tags+xml"/>
  <Override PartName="/ppt/charts/chart212.xml" ContentType="application/vnd.openxmlformats-officedocument.drawingml.chart+xml"/>
  <Override PartName="/ppt/tags/tag270.xml" ContentType="application/vnd.openxmlformats-officedocument.presentationml.tags+xml"/>
  <Override PartName="/ppt/charts/chart213.xml" ContentType="application/vnd.openxmlformats-officedocument.drawingml.chart+xml"/>
  <Override PartName="/ppt/tags/tag271.xml" ContentType="application/vnd.openxmlformats-officedocument.presentationml.tags+xml"/>
  <Override PartName="/ppt/charts/chart214.xml" ContentType="application/vnd.openxmlformats-officedocument.drawingml.chart+xml"/>
  <Override PartName="/ppt/tags/tag272.xml" ContentType="application/vnd.openxmlformats-officedocument.presentationml.tags+xml"/>
  <Override PartName="/ppt/charts/chart215.xml" ContentType="application/vnd.openxmlformats-officedocument.drawingml.chart+xml"/>
  <Override PartName="/ppt/tags/tag273.xml" ContentType="application/vnd.openxmlformats-officedocument.presentationml.tags+xml"/>
  <Override PartName="/ppt/charts/chart216.xml" ContentType="application/vnd.openxmlformats-officedocument.drawingml.chart+xml"/>
  <Override PartName="/ppt/tags/tag274.xml" ContentType="application/vnd.openxmlformats-officedocument.presentationml.tags+xml"/>
  <Override PartName="/ppt/notesSlides/notesSlide52.xml" ContentType="application/vnd.openxmlformats-officedocument.presentationml.notesSlide+xml"/>
  <Override PartName="/ppt/tags/tag275.xml" ContentType="application/vnd.openxmlformats-officedocument.presentationml.tags+xml"/>
  <Override PartName="/ppt/notesSlides/notesSlide53.xml" ContentType="application/vnd.openxmlformats-officedocument.presentationml.notesSlide+xml"/>
  <Override PartName="/ppt/tags/tag276.xml" ContentType="application/vnd.openxmlformats-officedocument.presentationml.tags+xml"/>
  <Override PartName="/ppt/notesSlides/notesSlide54.xml" ContentType="application/vnd.openxmlformats-officedocument.presentationml.notesSlide+xml"/>
  <Override PartName="/ppt/tags/tag277.xml" ContentType="application/vnd.openxmlformats-officedocument.presentationml.tags+xml"/>
  <Override PartName="/ppt/notesSlides/notesSlide55.xml" ContentType="application/vnd.openxmlformats-officedocument.presentationml.notesSlide+xml"/>
  <Override PartName="/ppt/tags/tag278.xml" ContentType="application/vnd.openxmlformats-officedocument.presentationml.tags+xml"/>
  <Override PartName="/ppt/notesSlides/notesSlide56.xml" ContentType="application/vnd.openxmlformats-officedocument.presentationml.notesSlide+xml"/>
  <Override PartName="/ppt/tags/tag279.xml" ContentType="application/vnd.openxmlformats-officedocument.presentationml.tags+xml"/>
  <Override PartName="/ppt/notesSlides/notesSlide57.xml" ContentType="application/vnd.openxmlformats-officedocument.presentationml.notesSlide+xml"/>
  <Override PartName="/ppt/tags/tag280.xml" ContentType="application/vnd.openxmlformats-officedocument.presentationml.tags+xml"/>
  <Override PartName="/ppt/notesSlides/notesSlide58.xml" ContentType="application/vnd.openxmlformats-officedocument.presentationml.notesSlide+xml"/>
  <Override PartName="/ppt/tags/tag281.xml" ContentType="application/vnd.openxmlformats-officedocument.presentationml.tags+xml"/>
  <Override PartName="/ppt/notesSlides/notesSlide59.xml" ContentType="application/vnd.openxmlformats-officedocument.presentationml.notesSlide+xml"/>
  <Override PartName="/ppt/tags/tag282.xml" ContentType="application/vnd.openxmlformats-officedocument.presentationml.tags+xml"/>
  <Override PartName="/ppt/notesSlides/notesSlide60.xml" ContentType="application/vnd.openxmlformats-officedocument.presentationml.notesSlide+xml"/>
  <Override PartName="/ppt/tags/tag283.xml" ContentType="application/vnd.openxmlformats-officedocument.presentationml.tags+xml"/>
  <Override PartName="/ppt/notesSlides/notesSlide61.xml" ContentType="application/vnd.openxmlformats-officedocument.presentationml.notesSlide+xml"/>
  <Override PartName="/ppt/tags/tag284.xml" ContentType="application/vnd.openxmlformats-officedocument.presentationml.tags+xml"/>
  <Override PartName="/ppt/notesSlides/notesSlide62.xml" ContentType="application/vnd.openxmlformats-officedocument.presentationml.notesSlide+xml"/>
  <Override PartName="/ppt/tags/tag285.xml" ContentType="application/vnd.openxmlformats-officedocument.presentationml.tags+xml"/>
  <Override PartName="/ppt/notesSlides/notesSlide63.xml" ContentType="application/vnd.openxmlformats-officedocument.presentationml.notesSlide+xml"/>
  <Override PartName="/ppt/tags/tag286.xml" ContentType="application/vnd.openxmlformats-officedocument.presentationml.tags+xml"/>
  <Override PartName="/ppt/notesSlides/notesSlide64.xml" ContentType="application/vnd.openxmlformats-officedocument.presentationml.notesSlide+xml"/>
  <Override PartName="/ppt/tags/tag287.xml" ContentType="application/vnd.openxmlformats-officedocument.presentationml.tags+xml"/>
  <Override PartName="/ppt/notesSlides/notesSlide65.xml" ContentType="application/vnd.openxmlformats-officedocument.presentationml.notesSlide+xml"/>
  <Override PartName="/ppt/tags/tag288.xml" ContentType="application/vnd.openxmlformats-officedocument.presentationml.tags+xml"/>
  <Override PartName="/ppt/notesSlides/notesSlide66.xml" ContentType="application/vnd.openxmlformats-officedocument.presentationml.notesSlide+xml"/>
  <Override PartName="/ppt/tags/tag289.xml" ContentType="application/vnd.openxmlformats-officedocument.presentationml.tags+xml"/>
  <Override PartName="/ppt/notesSlides/notesSlide67.xml" ContentType="application/vnd.openxmlformats-officedocument.presentationml.notesSlide+xml"/>
  <Override PartName="/ppt/tags/tag290.xml" ContentType="application/vnd.openxmlformats-officedocument.presentationml.tags+xml"/>
  <Override PartName="/ppt/notesSlides/notesSlide68.xml" ContentType="application/vnd.openxmlformats-officedocument.presentationml.notesSlide+xml"/>
  <Override PartName="/ppt/tags/tag291.xml" ContentType="application/vnd.openxmlformats-officedocument.presentationml.tags+xml"/>
  <Override PartName="/ppt/notesSlides/notesSlide69.xml" ContentType="application/vnd.openxmlformats-officedocument.presentationml.notesSlide+xml"/>
  <Override PartName="/ppt/tags/tag292.xml" ContentType="application/vnd.openxmlformats-officedocument.presentationml.tags+xml"/>
  <Override PartName="/ppt/charts/chart217.xml" ContentType="application/vnd.openxmlformats-officedocument.drawingml.chart+xml"/>
  <Override PartName="/ppt/tags/tag293.xml" ContentType="application/vnd.openxmlformats-officedocument.presentationml.tags+xml"/>
  <Override PartName="/ppt/charts/chart218.xml" ContentType="application/vnd.openxmlformats-officedocument.drawingml.chart+xml"/>
  <Override PartName="/ppt/tags/tag294.xml" ContentType="application/vnd.openxmlformats-officedocument.presentationml.tags+xml"/>
  <Override PartName="/ppt/charts/chart219.xml" ContentType="application/vnd.openxmlformats-officedocument.drawingml.chart+xml"/>
  <Override PartName="/ppt/tags/tag295.xml" ContentType="application/vnd.openxmlformats-officedocument.presentationml.tags+xml"/>
  <Override PartName="/ppt/charts/chart220.xml" ContentType="application/vnd.openxmlformats-officedocument.drawingml.chart+xml"/>
  <Override PartName="/ppt/tags/tag296.xml" ContentType="application/vnd.openxmlformats-officedocument.presentationml.tags+xml"/>
  <Override PartName="/ppt/charts/chart221.xml" ContentType="application/vnd.openxmlformats-officedocument.drawingml.chart+xml"/>
  <Override PartName="/ppt/tags/tag297.xml" ContentType="application/vnd.openxmlformats-officedocument.presentationml.tags+xml"/>
  <Override PartName="/ppt/charts/chart222.xml" ContentType="application/vnd.openxmlformats-officedocument.drawingml.chart+xml"/>
  <Override PartName="/ppt/tags/tag298.xml" ContentType="application/vnd.openxmlformats-officedocument.presentationml.tags+xml"/>
  <Override PartName="/ppt/charts/chart223.xml" ContentType="application/vnd.openxmlformats-officedocument.drawingml.chart+xml"/>
  <Override PartName="/ppt/tags/tag299.xml" ContentType="application/vnd.openxmlformats-officedocument.presentationml.tags+xml"/>
  <Override PartName="/ppt/charts/chart224.xml" ContentType="application/vnd.openxmlformats-officedocument.drawingml.chart+xml"/>
  <Override PartName="/ppt/tags/tag300.xml" ContentType="application/vnd.openxmlformats-officedocument.presentationml.tags+xml"/>
  <Override PartName="/ppt/charts/chart225.xml" ContentType="application/vnd.openxmlformats-officedocument.drawingml.chart+xml"/>
  <Override PartName="/ppt/tags/tag301.xml" ContentType="application/vnd.openxmlformats-officedocument.presentationml.tags+xml"/>
  <Override PartName="/ppt/charts/chart226.xml" ContentType="application/vnd.openxmlformats-officedocument.drawingml.chart+xml"/>
  <Override PartName="/ppt/tags/tag302.xml" ContentType="application/vnd.openxmlformats-officedocument.presentationml.tags+xml"/>
  <Override PartName="/ppt/charts/chart227.xml" ContentType="application/vnd.openxmlformats-officedocument.drawingml.chart+xml"/>
  <Override PartName="/ppt/tags/tag303.xml" ContentType="application/vnd.openxmlformats-officedocument.presentationml.tags+xml"/>
  <Override PartName="/ppt/charts/chart228.xml" ContentType="application/vnd.openxmlformats-officedocument.drawingml.chart+xml"/>
  <Override PartName="/ppt/tags/tag304.xml" ContentType="application/vnd.openxmlformats-officedocument.presentationml.tags+xml"/>
  <Override PartName="/ppt/charts/chart229.xml" ContentType="application/vnd.openxmlformats-officedocument.drawingml.chart+xml"/>
  <Override PartName="/ppt/tags/tag305.xml" ContentType="application/vnd.openxmlformats-officedocument.presentationml.tags+xml"/>
  <Override PartName="/ppt/charts/chart230.xml" ContentType="application/vnd.openxmlformats-officedocument.drawingml.chart+xml"/>
  <Override PartName="/ppt/tags/tag306.xml" ContentType="application/vnd.openxmlformats-officedocument.presentationml.tags+xml"/>
  <Override PartName="/ppt/charts/chart231.xml" ContentType="application/vnd.openxmlformats-officedocument.drawingml.chart+xml"/>
  <Override PartName="/ppt/tags/tag307.xml" ContentType="application/vnd.openxmlformats-officedocument.presentationml.tags+xml"/>
  <Override PartName="/ppt/charts/chart232.xml" ContentType="application/vnd.openxmlformats-officedocument.drawingml.chart+xml"/>
  <Override PartName="/ppt/tags/tag308.xml" ContentType="application/vnd.openxmlformats-officedocument.presentationml.tags+xml"/>
  <Override PartName="/ppt/charts/chart233.xml" ContentType="application/vnd.openxmlformats-officedocument.drawingml.chart+xml"/>
  <Override PartName="/ppt/tags/tag309.xml" ContentType="application/vnd.openxmlformats-officedocument.presentationml.tags+xml"/>
  <Override PartName="/ppt/charts/chart234.xml" ContentType="application/vnd.openxmlformats-officedocument.drawingml.chart+xml"/>
  <Override PartName="/ppt/tags/tag310.xml" ContentType="application/vnd.openxmlformats-officedocument.presentationml.tags+xml"/>
  <Override PartName="/ppt/charts/chart235.xml" ContentType="application/vnd.openxmlformats-officedocument.drawingml.chart+xml"/>
  <Override PartName="/ppt/tags/tag311.xml" ContentType="application/vnd.openxmlformats-officedocument.presentationml.tags+xml"/>
  <Override PartName="/ppt/charts/chart236.xml" ContentType="application/vnd.openxmlformats-officedocument.drawingml.chart+xml"/>
  <Override PartName="/ppt/tags/tag312.xml" ContentType="application/vnd.openxmlformats-officedocument.presentationml.tags+xml"/>
  <Override PartName="/ppt/charts/chart237.xml" ContentType="application/vnd.openxmlformats-officedocument.drawingml.chart+xml"/>
  <Override PartName="/ppt/tags/tag313.xml" ContentType="application/vnd.openxmlformats-officedocument.presentationml.tags+xml"/>
  <Override PartName="/ppt/charts/chart238.xml" ContentType="application/vnd.openxmlformats-officedocument.drawingml.chart+xml"/>
  <Override PartName="/ppt/tags/tag314.xml" ContentType="application/vnd.openxmlformats-officedocument.presentationml.tags+xml"/>
  <Override PartName="/ppt/charts/chart239.xml" ContentType="application/vnd.openxmlformats-officedocument.drawingml.chart+xml"/>
  <Override PartName="/ppt/tags/tag315.xml" ContentType="application/vnd.openxmlformats-officedocument.presentationml.tags+xml"/>
  <Override PartName="/ppt/charts/chart240.xml" ContentType="application/vnd.openxmlformats-officedocument.drawingml.chart+xml"/>
  <Override PartName="/ppt/tags/tag316.xml" ContentType="application/vnd.openxmlformats-officedocument.presentationml.tags+xml"/>
  <Override PartName="/ppt/charts/chart241.xml" ContentType="application/vnd.openxmlformats-officedocument.drawingml.chart+xml"/>
  <Override PartName="/ppt/tags/tag317.xml" ContentType="application/vnd.openxmlformats-officedocument.presentationml.tags+xml"/>
  <Override PartName="/ppt/charts/chart242.xml" ContentType="application/vnd.openxmlformats-officedocument.drawingml.chart+xml"/>
  <Override PartName="/ppt/tags/tag318.xml" ContentType="application/vnd.openxmlformats-officedocument.presentationml.tags+xml"/>
  <Override PartName="/ppt/charts/chart243.xml" ContentType="application/vnd.openxmlformats-officedocument.drawingml.chart+xml"/>
  <Override PartName="/ppt/tags/tag319.xml" ContentType="application/vnd.openxmlformats-officedocument.presentationml.tags+xml"/>
  <Override PartName="/ppt/charts/chart244.xml" ContentType="application/vnd.openxmlformats-officedocument.drawingml.chart+xml"/>
  <Override PartName="/ppt/tags/tag320.xml" ContentType="application/vnd.openxmlformats-officedocument.presentationml.tags+xml"/>
  <Override PartName="/ppt/charts/chart245.xml" ContentType="application/vnd.openxmlformats-officedocument.drawingml.chart+xml"/>
  <Override PartName="/ppt/tags/tag321.xml" ContentType="application/vnd.openxmlformats-officedocument.presentationml.tags+xml"/>
  <Override PartName="/ppt/charts/chart24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299"/>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E5A93EF3-DCDB-4FB6-B78B-CFB2378DBD2A}">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 name="SKU Share by Manuf" id="{F450D089-D91C-49AF-92B4-671ABDFD8D5A}">
          <p14:sldIdLst>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Lst>
        </p14:section>
        <p14:section name="Cumulative Product Shares" id="{CD35D195-780F-4323-B0EA-C2A4D65AEB60}">
          <p14:sldIdLst>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Lst>
        </p14:section>
        <p14:section name="Brand Cumulative Product Share" id="{E48C8B66-EB86-4148-A5F5-9B554494D23D}">
          <p14:sldIdLst>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Lst>
        </p14:section>
        <p14:section name="Top 20 cumulative share" id="{B5233D16-EAB3-49A2-A1DE-8D7ED893F65A}">
          <p14:sldIdLst>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Lst>
        </p14:section>
        <p14:section name="SKU Productivity Analysis with TM%" id="{B121B5CA-CB7F-41BF-80A7-541F70804A2B}">
          <p14:sldIdLst>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Lst>
        </p14:section>
        <p14:section name="SKU Productivity Analysis with WD" id="{69929194-15BC-4BFE-A67C-EAEDF825707F}">
          <p14:sldIdLst>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Lst>
        </p14:section>
        <p14:section name="Sectors Fair Share" id="{831319F7-616A-44BB-B786-66072B05F1D9}">
          <p14:sldIdLst>
            <p14:sldId id="2147475415"/>
            <p14:sldId id="2147475416"/>
            <p14:sldId id="2147475417"/>
            <p14:sldId id="2147475418"/>
            <p14:sldId id="2147475419"/>
            <p14:sldId id="2147475420"/>
            <p14:sldId id="2147475421"/>
            <p14:sldId id="2147475422"/>
            <p14:sldId id="2147475423"/>
          </p14:sldIdLst>
        </p14:section>
        <p14:section name="Segments Fair Share" id="{BB811FCB-F193-4E34-A779-7C84A4F97D7A}">
          <p14:sldIdLst>
            <p14:sldId id="2147475424"/>
            <p14:sldId id="2147475425"/>
            <p14:sldId id="2147475426"/>
            <p14:sldId id="2147475427"/>
            <p14:sldId id="2147475428"/>
            <p14:sldId id="2147475429"/>
            <p14:sldId id="2147475430"/>
            <p14:sldId id="2147475431"/>
            <p14:sldId id="2147475432"/>
          </p14:sldIdLst>
        </p14:section>
        <p14:section name="SKU Share By Brand no client prio" id="{63A9DA8B-1199-4D2A-84DB-A300F7785462}">
          <p14:sldIdLst>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82" d="100"/>
          <a:sy n="82" d="100"/>
        </p:scale>
        <p:origin x="1195" y="67"/>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notesMaster" Target="notesMasters/notesMaster1.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microsoft.com/office/2015/10/relationships/revisionInfo" Target="revisionInfo.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291" Type="http://schemas.openxmlformats.org/officeDocument/2006/relationships/slide" Target="slides/slide287.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slide" Target="slides/slide277.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92" Type="http://schemas.openxmlformats.org/officeDocument/2006/relationships/slide" Target="slides/slide288.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presProps" Target="presProps.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tableStyles" Target="tableStyles.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B$2:$B$11</c:f>
              <c:numCache>
                <c:formatCode>General</c:formatCode>
                <c:ptCount val="10"/>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pt idx="8">
                  <c:v>2.7052476556671296E-4</c:v>
                </c:pt>
                <c:pt idx="9">
                  <c:v>5.744541844533383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C$2:$C$11</c:f>
              <c:numCache>
                <c:formatCode>General</c:formatCode>
                <c:ptCount val="10"/>
                <c:pt idx="0">
                  <c:v>0.44025164210900031</c:v>
                </c:pt>
                <c:pt idx="1">
                  <c:v>8.8807030001775158E-2</c:v>
                </c:pt>
                <c:pt idx="2">
                  <c:v>0.19079531333214964</c:v>
                </c:pt>
                <c:pt idx="3">
                  <c:v>9.7417006923486441E-2</c:v>
                </c:pt>
                <c:pt idx="4">
                  <c:v>0.11147479140777554</c:v>
                </c:pt>
                <c:pt idx="5">
                  <c:v>3.3707615835256478E-2</c:v>
                </c:pt>
                <c:pt idx="6">
                  <c:v>1.6731759275696766E-2</c:v>
                </c:pt>
                <c:pt idx="7">
                  <c:v>1.6898189241966958E-2</c:v>
                </c:pt>
                <c:pt idx="8">
                  <c:v>2.207970885851231E-3</c:v>
                </c:pt>
                <c:pt idx="9">
                  <c:v>1.7086809870406508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D$2:$D$11</c:f>
              <c:numCache>
                <c:formatCode>General</c:formatCode>
                <c:ptCount val="10"/>
                <c:pt idx="0">
                  <c:v>77.943109657321656</c:v>
                </c:pt>
                <c:pt idx="1">
                  <c:v>62.704507972441746</c:v>
                </c:pt>
                <c:pt idx="2">
                  <c:v>180.78636361081089</c:v>
                </c:pt>
                <c:pt idx="3">
                  <c:v>137.87041497670762</c:v>
                </c:pt>
                <c:pt idx="4">
                  <c:v>162.73691351281562</c:v>
                </c:pt>
                <c:pt idx="5">
                  <c:v>129.75796165361803</c:v>
                </c:pt>
                <c:pt idx="6">
                  <c:v>139.64526307728184</c:v>
                </c:pt>
                <c:pt idx="7">
                  <c:v>159.34009250859432</c:v>
                </c:pt>
                <c:pt idx="8">
                  <c:v>816.18068542664821</c:v>
                </c:pt>
                <c:pt idx="9">
                  <c:v>29744.4258094605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232810204621629</c:v>
                </c:pt>
                <c:pt idx="1">
                  <c:v>0.17466163350264091</c:v>
                </c:pt>
                <c:pt idx="2">
                  <c:v>0.16328107149783413</c:v>
                </c:pt>
                <c:pt idx="3">
                  <c:v>0.11709290612027616</c:v>
                </c:pt>
                <c:pt idx="4">
                  <c:v>2.636286833032484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39277566539923936</c:v>
                </c:pt>
                <c:pt idx="1">
                  <c:v>0.23384030418250942</c:v>
                </c:pt>
                <c:pt idx="2">
                  <c:v>0.19391634980988587</c:v>
                </c:pt>
                <c:pt idx="3">
                  <c:v>0.15779467680608358</c:v>
                </c:pt>
                <c:pt idx="4">
                  <c:v>2.167300380228136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72.423992766977747</c:v>
                </c:pt>
                <c:pt idx="1">
                  <c:v>133.88189466290186</c:v>
                </c:pt>
                <c:pt idx="2">
                  <c:v>118.76229622394297</c:v>
                </c:pt>
                <c:pt idx="3">
                  <c:v>134.76023615299047</c:v>
                </c:pt>
                <c:pt idx="4">
                  <c:v>822.1034043306739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4</c:f>
              <c:strCache>
                <c:ptCount val="13"/>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pt idx="7">
                  <c:v>EQUATE TB (TWIN BLADE) 2 BLADE DISPOSABLE NORMAL 12CT</c:v>
                </c:pt>
                <c:pt idx="8">
                  <c:v>EQUATE CALIBER 3 3 BLADE DISPOSABLE SENSITIVE 3CT</c:v>
                </c:pt>
                <c:pt idx="9">
                  <c:v>EQUATE CALIBER 4 MAX 4 BLADE DISPOSABLE NORMAL 3CT</c:v>
                </c:pt>
                <c:pt idx="10">
                  <c:v>EQUATE TB (TWIN BLADE) 2 BLADE DISPOSABLE NORMAL 5CT</c:v>
                </c:pt>
                <c:pt idx="11">
                  <c:v>EQUATE 2 BLADE DISPOSABLE NORMAL 3CT</c:v>
                </c:pt>
                <c:pt idx="12">
                  <c:v>PERSONNA TB (TWIN BLADE) BLUE 2 BLADE DISPOSABLE NORMAL 10CT</c:v>
                </c:pt>
              </c:strCache>
            </c:strRef>
          </c:cat>
          <c:val>
            <c:numRef>
              <c:f>Sheet1!$B$2:$B$14</c:f>
              <c:numCache>
                <c:formatCode>General</c:formatCode>
                <c:ptCount val="13"/>
                <c:pt idx="0">
                  <c:v>0.99</c:v>
                </c:pt>
                <c:pt idx="1">
                  <c:v>0.99</c:v>
                </c:pt>
                <c:pt idx="2">
                  <c:v>0.93</c:v>
                </c:pt>
                <c:pt idx="3">
                  <c:v>0.97</c:v>
                </c:pt>
                <c:pt idx="4">
                  <c:v>0.95</c:v>
                </c:pt>
                <c:pt idx="5">
                  <c:v>0.98</c:v>
                </c:pt>
                <c:pt idx="6">
                  <c:v>0.01</c:v>
                </c:pt>
                <c:pt idx="7">
                  <c:v>0.01</c:v>
                </c:pt>
                <c:pt idx="8">
                  <c:v>0.01</c:v>
                </c:pt>
                <c:pt idx="9">
                  <c:v>0.01</c:v>
                </c:pt>
                <c:pt idx="10">
                  <c:v>0.01</c:v>
                </c:pt>
                <c:pt idx="11">
                  <c:v>0.01</c:v>
                </c:pt>
                <c:pt idx="1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4</c:f>
              <c:strCache>
                <c:ptCount val="13"/>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pt idx="7">
                  <c:v>EQUATE TB (TWIN BLADE) 2 BLADE DISPOSABLE NORMAL 12CT</c:v>
                </c:pt>
                <c:pt idx="8">
                  <c:v>EQUATE CALIBER 3 3 BLADE DISPOSABLE SENSITIVE 3CT</c:v>
                </c:pt>
                <c:pt idx="9">
                  <c:v>EQUATE CALIBER 4 MAX 4 BLADE DISPOSABLE NORMAL 3CT</c:v>
                </c:pt>
                <c:pt idx="10">
                  <c:v>EQUATE TB (TWIN BLADE) 2 BLADE DISPOSABLE NORMAL 5CT</c:v>
                </c:pt>
                <c:pt idx="11">
                  <c:v>EQUATE 2 BLADE DISPOSABLE NORMAL 3CT</c:v>
                </c:pt>
                <c:pt idx="12">
                  <c:v>PERSONNA TB (TWIN BLADE) BLUE 2 BLADE DISPOSABLE NORMAL 10CT</c:v>
                </c:pt>
              </c:strCache>
            </c:strRef>
          </c:cat>
          <c:val>
            <c:numRef>
              <c:f>Sheet1!$C$2:$C$14</c:f>
              <c:numCache>
                <c:formatCode>General</c:formatCode>
                <c:ptCount val="13"/>
                <c:pt idx="0">
                  <c:v>0.35635164179590456</c:v>
                </c:pt>
                <c:pt idx="1">
                  <c:v>0.50826313047023974</c:v>
                </c:pt>
                <c:pt idx="2">
                  <c:v>0.65486403691265394</c:v>
                </c:pt>
                <c:pt idx="3">
                  <c:v>0.8002691781603124</c:v>
                </c:pt>
                <c:pt idx="4">
                  <c:v>0.93131924245374376</c:v>
                </c:pt>
                <c:pt idx="5">
                  <c:v>0.9998912302786459</c:v>
                </c:pt>
                <c:pt idx="6">
                  <c:v>0.99999331007735315</c:v>
                </c:pt>
                <c:pt idx="7">
                  <c:v>0.99999625738593179</c:v>
                </c:pt>
                <c:pt idx="8">
                  <c:v>0.99999752051817981</c:v>
                </c:pt>
                <c:pt idx="9">
                  <c:v>0.99999873686775198</c:v>
                </c:pt>
                <c:pt idx="10">
                  <c:v>0.99999934504253807</c:v>
                </c:pt>
                <c:pt idx="11">
                  <c:v>0.99999967252126898</c:v>
                </c:pt>
                <c:pt idx="1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4</c:f>
              <c:strCache>
                <c:ptCount val="13"/>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pt idx="7">
                  <c:v>EQUATE TB (TWIN BLADE) 2 BLADE DISPOSABLE NORMAL 12CT</c:v>
                </c:pt>
                <c:pt idx="8">
                  <c:v>EQUATE CALIBER 3 3 BLADE DISPOSABLE SENSITIVE 3CT</c:v>
                </c:pt>
                <c:pt idx="9">
                  <c:v>EQUATE CALIBER 4 MAX 4 BLADE DISPOSABLE NORMAL 3CT</c:v>
                </c:pt>
                <c:pt idx="10">
                  <c:v>EQUATE TB (TWIN BLADE) 2 BLADE DISPOSABLE NORMAL 5CT</c:v>
                </c:pt>
                <c:pt idx="11">
                  <c:v>EQUATE 2 BLADE DISPOSABLE NORMAL 3CT</c:v>
                </c:pt>
                <c:pt idx="12">
                  <c:v>PERSONNA TB (TWIN BLADE) BLUE 2 BLADE DISPOSABLE NORMAL 10CT</c:v>
                </c:pt>
              </c:strCache>
            </c:strRef>
          </c:cat>
          <c:val>
            <c:numRef>
              <c:f>Sheet1!$D$2:$D$14</c:f>
              <c:numCache>
                <c:formatCode>General</c:formatCode>
                <c:ptCount val="13"/>
                <c:pt idx="0">
                  <c:v>76941.121212121216</c:v>
                </c:pt>
                <c:pt idx="1">
                  <c:v>32799.737373737371</c:v>
                </c:pt>
                <c:pt idx="2">
                  <c:v>33695.247311827959</c:v>
                </c:pt>
                <c:pt idx="3">
                  <c:v>32042.247422680412</c:v>
                </c:pt>
                <c:pt idx="4">
                  <c:v>29486.863157894735</c:v>
                </c:pt>
                <c:pt idx="5">
                  <c:v>14956.693877551021</c:v>
                </c:pt>
                <c:pt idx="6">
                  <c:v>2182</c:v>
                </c:pt>
                <c:pt idx="7">
                  <c:v>63</c:v>
                </c:pt>
                <c:pt idx="8">
                  <c:v>27</c:v>
                </c:pt>
                <c:pt idx="9">
                  <c:v>26</c:v>
                </c:pt>
                <c:pt idx="10">
                  <c:v>13</c:v>
                </c:pt>
                <c:pt idx="11">
                  <c:v>7</c:v>
                </c:pt>
                <c:pt idx="12">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4CT</c:v>
                </c:pt>
                <c:pt idx="5">
                  <c:v>EQUATE CALIBER 5 5 BLADE REFILL NORMAL 8CT</c:v>
                </c:pt>
                <c:pt idx="6">
                  <c:v>EQUATE CALIBER 5 BLACK 5 BLADE RAZOR NORMAL 2CT</c:v>
                </c:pt>
                <c:pt idx="7">
                  <c:v>EQUATE EASY FIT 3 3 BLADE REFILL NORMAL 15CT</c:v>
                </c:pt>
                <c:pt idx="8">
                  <c:v>EQUATE EASY FIT 3 3 BLADE REFILL NORMAL 5CT</c:v>
                </c:pt>
                <c:pt idx="9">
                  <c:v>EQUATE CALIBER 3 3 BLADE RAZOR SENSITIVE 20CT</c:v>
                </c:pt>
                <c:pt idx="10">
                  <c:v>EQUATE CALIBER 5 5 BLADE REFILL NORMAL 12CT</c:v>
                </c:pt>
                <c:pt idx="11">
                  <c:v>EQUATE EASY FIT 3 3 BLADE RAZOR NORMAL 2CT</c:v>
                </c:pt>
                <c:pt idx="12">
                  <c:v>EQUATE CALIBER 5 5 BLADE RAZOR NORMAL 2CT</c:v>
                </c:pt>
                <c:pt idx="13">
                  <c:v>EQUATE CALIBER 5 5 BLADE RAZOR NORMAL 1CT</c:v>
                </c:pt>
                <c:pt idx="14">
                  <c:v>PERSONA M5 MAGNUM 5 BLADE REFILL NORMAL 4CT</c:v>
                </c:pt>
                <c:pt idx="15">
                  <c:v>EQUATE EASY FIT 3 3 BLADE REFILL NORMAL 10CT</c:v>
                </c:pt>
              </c:strCache>
            </c:strRef>
          </c:cat>
          <c:val>
            <c:numRef>
              <c:f>Sheet1!$B$2:$B$17</c:f>
              <c:numCache>
                <c:formatCode>General</c:formatCode>
                <c:ptCount val="16"/>
                <c:pt idx="0">
                  <c:v>0.84499999999999997</c:v>
                </c:pt>
                <c:pt idx="1">
                  <c:v>0.751</c:v>
                </c:pt>
                <c:pt idx="2">
                  <c:v>0.58399999999999996</c:v>
                </c:pt>
                <c:pt idx="3">
                  <c:v>0.68899999999999995</c:v>
                </c:pt>
                <c:pt idx="4">
                  <c:v>0.01</c:v>
                </c:pt>
                <c:pt idx="5">
                  <c:v>0.01</c:v>
                </c:pt>
                <c:pt idx="6">
                  <c:v>0.01</c:v>
                </c:pt>
                <c:pt idx="7">
                  <c:v>8.9999999999999993E-3</c:v>
                </c:pt>
                <c:pt idx="8">
                  <c:v>8.9999999999999993E-3</c:v>
                </c:pt>
                <c:pt idx="9">
                  <c:v>8.9999999999999993E-3</c:v>
                </c:pt>
                <c:pt idx="10">
                  <c:v>1E-3</c:v>
                </c:pt>
                <c:pt idx="11">
                  <c:v>8.9999999999999993E-3</c:v>
                </c:pt>
                <c:pt idx="12">
                  <c:v>8.9999999999999993E-3</c:v>
                </c:pt>
                <c:pt idx="13">
                  <c:v>8.9999999999999993E-3</c:v>
                </c:pt>
                <c:pt idx="14">
                  <c:v>8.9999999999999993E-3</c:v>
                </c:pt>
                <c:pt idx="15">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4CT</c:v>
                </c:pt>
                <c:pt idx="5">
                  <c:v>EQUATE CALIBER 5 5 BLADE REFILL NORMAL 8CT</c:v>
                </c:pt>
                <c:pt idx="6">
                  <c:v>EQUATE CALIBER 5 BLACK 5 BLADE RAZOR NORMAL 2CT</c:v>
                </c:pt>
                <c:pt idx="7">
                  <c:v>EQUATE EASY FIT 3 3 BLADE REFILL NORMAL 15CT</c:v>
                </c:pt>
                <c:pt idx="8">
                  <c:v>EQUATE EASY FIT 3 3 BLADE REFILL NORMAL 5CT</c:v>
                </c:pt>
                <c:pt idx="9">
                  <c:v>EQUATE CALIBER 3 3 BLADE RAZOR SENSITIVE 20CT</c:v>
                </c:pt>
                <c:pt idx="10">
                  <c:v>EQUATE CALIBER 5 5 BLADE REFILL NORMAL 12CT</c:v>
                </c:pt>
                <c:pt idx="11">
                  <c:v>EQUATE EASY FIT 3 3 BLADE RAZOR NORMAL 2CT</c:v>
                </c:pt>
                <c:pt idx="12">
                  <c:v>EQUATE CALIBER 5 5 BLADE RAZOR NORMAL 2CT</c:v>
                </c:pt>
                <c:pt idx="13">
                  <c:v>EQUATE CALIBER 5 5 BLADE RAZOR NORMAL 1CT</c:v>
                </c:pt>
                <c:pt idx="14">
                  <c:v>PERSONA M5 MAGNUM 5 BLADE REFILL NORMAL 4CT</c:v>
                </c:pt>
                <c:pt idx="15">
                  <c:v>EQUATE EASY FIT 3 3 BLADE REFILL NORMAL 10CT</c:v>
                </c:pt>
              </c:strCache>
            </c:strRef>
          </c:cat>
          <c:val>
            <c:numRef>
              <c:f>Sheet1!$C$2:$C$17</c:f>
              <c:numCache>
                <c:formatCode>General</c:formatCode>
                <c:ptCount val="16"/>
                <c:pt idx="0">
                  <c:v>0.46219898148431166</c:v>
                </c:pt>
                <c:pt idx="1">
                  <c:v>0.70171096633902796</c:v>
                </c:pt>
                <c:pt idx="2">
                  <c:v>0.92873618248585987</c:v>
                </c:pt>
                <c:pt idx="3">
                  <c:v>0.99986300890351343</c:v>
                </c:pt>
                <c:pt idx="4">
                  <c:v>0.99994159216136547</c:v>
                </c:pt>
                <c:pt idx="5">
                  <c:v>0.99997710089918823</c:v>
                </c:pt>
                <c:pt idx="6">
                  <c:v>0.99998587720654786</c:v>
                </c:pt>
                <c:pt idx="7">
                  <c:v>0.99998960965910311</c:v>
                </c:pt>
                <c:pt idx="8">
                  <c:v>0.99999233334069748</c:v>
                </c:pt>
                <c:pt idx="9">
                  <c:v>0.99999455263681136</c:v>
                </c:pt>
                <c:pt idx="10">
                  <c:v>0.99999606579325262</c:v>
                </c:pt>
                <c:pt idx="11">
                  <c:v>0.99999747807259787</c:v>
                </c:pt>
                <c:pt idx="12">
                  <c:v>0.99999848684355874</c:v>
                </c:pt>
                <c:pt idx="13">
                  <c:v>0.99999919298323137</c:v>
                </c:pt>
                <c:pt idx="14">
                  <c:v>0.99999969736871175</c:v>
                </c:pt>
                <c:pt idx="1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7</c:f>
              <c:strCache>
                <c:ptCount val="16"/>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4CT</c:v>
                </c:pt>
                <c:pt idx="5">
                  <c:v>EQUATE CALIBER 5 5 BLADE REFILL NORMAL 8CT</c:v>
                </c:pt>
                <c:pt idx="6">
                  <c:v>EQUATE CALIBER 5 BLACK 5 BLADE RAZOR NORMAL 2CT</c:v>
                </c:pt>
                <c:pt idx="7">
                  <c:v>EQUATE EASY FIT 3 3 BLADE REFILL NORMAL 15CT</c:v>
                </c:pt>
                <c:pt idx="8">
                  <c:v>EQUATE EASY FIT 3 3 BLADE REFILL NORMAL 5CT</c:v>
                </c:pt>
                <c:pt idx="9">
                  <c:v>EQUATE CALIBER 3 3 BLADE RAZOR SENSITIVE 20CT</c:v>
                </c:pt>
                <c:pt idx="10">
                  <c:v>EQUATE CALIBER 5 5 BLADE REFILL NORMAL 12CT</c:v>
                </c:pt>
                <c:pt idx="11">
                  <c:v>EQUATE EASY FIT 3 3 BLADE RAZOR NORMAL 2CT</c:v>
                </c:pt>
                <c:pt idx="12">
                  <c:v>EQUATE CALIBER 5 5 BLADE RAZOR NORMAL 2CT</c:v>
                </c:pt>
                <c:pt idx="13">
                  <c:v>EQUATE CALIBER 5 5 BLADE RAZOR NORMAL 1CT</c:v>
                </c:pt>
                <c:pt idx="14">
                  <c:v>PERSONA M5 MAGNUM 5 BLADE REFILL NORMAL 4CT</c:v>
                </c:pt>
                <c:pt idx="15">
                  <c:v>EQUATE EASY FIT 3 3 BLADE REFILL NORMAL 10CT</c:v>
                </c:pt>
              </c:strCache>
            </c:strRef>
          </c:cat>
          <c:val>
            <c:numRef>
              <c:f>Sheet1!$D$2:$D$17</c:f>
              <c:numCache>
                <c:formatCode>General</c:formatCode>
                <c:ptCount val="16"/>
                <c:pt idx="0">
                  <c:v>54222.520710059172</c:v>
                </c:pt>
                <c:pt idx="1">
                  <c:v>31615.113182423436</c:v>
                </c:pt>
                <c:pt idx="2">
                  <c:v>38536.181506849316</c:v>
                </c:pt>
                <c:pt idx="3">
                  <c:v>10233.439767779391</c:v>
                </c:pt>
                <c:pt idx="4">
                  <c:v>779</c:v>
                </c:pt>
                <c:pt idx="5">
                  <c:v>352</c:v>
                </c:pt>
                <c:pt idx="6">
                  <c:v>87</c:v>
                </c:pt>
                <c:pt idx="7">
                  <c:v>41.111111111111114</c:v>
                </c:pt>
                <c:pt idx="8">
                  <c:v>30.000000000000004</c:v>
                </c:pt>
                <c:pt idx="9">
                  <c:v>24.444444444444446</c:v>
                </c:pt>
                <c:pt idx="10">
                  <c:v>150</c:v>
                </c:pt>
                <c:pt idx="11">
                  <c:v>15.555555555555557</c:v>
                </c:pt>
                <c:pt idx="12">
                  <c:v>11.111111111111112</c:v>
                </c:pt>
                <c:pt idx="13">
                  <c:v>7.7777777777777786</c:v>
                </c:pt>
                <c:pt idx="14">
                  <c:v>5.5555555555555562</c:v>
                </c:pt>
                <c:pt idx="15">
                  <c:v>3.3333333333333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CALIBER 3 3 BLADE RAZOR NORMAL 13CT</c:v>
                </c:pt>
              </c:strCache>
            </c:strRef>
          </c:cat>
          <c:val>
            <c:numRef>
              <c:f>Sheet1!$B$2:$B$2</c:f>
              <c:numCache>
                <c:formatCode>General</c:formatCode>
                <c:ptCount val="1"/>
                <c:pt idx="0">
                  <c:v>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CALIBER 3 3 BLADE RAZOR NORMAL 13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CALIBER 3 3 BLADE RAZOR NORMAL 13CT</c:v>
                </c:pt>
              </c:strCache>
            </c:strRef>
          </c:cat>
          <c:val>
            <c:numRef>
              <c:f>Sheet1!$D$2:$D$2</c:f>
              <c:numCache>
                <c:formatCode>General</c:formatCode>
                <c:ptCount val="1"/>
                <c:pt idx="0">
                  <c:v>532.98333333333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8CT</c:v>
                </c:pt>
                <c:pt idx="5">
                  <c:v>EQUATE CALIBER 5 5 BLADE REFILL NORMAL 4CT</c:v>
                </c:pt>
                <c:pt idx="6">
                  <c:v>EQUATE CALIBER 5 BLACK 5 BLADE RAZOR NORMAL 2CT</c:v>
                </c:pt>
                <c:pt idx="7">
                  <c:v>EQUATE CALIBER 5 5 BLADE RAZOR NORMAL 2CT</c:v>
                </c:pt>
              </c:strCache>
            </c:strRef>
          </c:cat>
          <c:val>
            <c:numRef>
              <c:f>Sheet1!$B$2:$B$9</c:f>
              <c:numCache>
                <c:formatCode>General</c:formatCode>
                <c:ptCount val="8"/>
                <c:pt idx="0">
                  <c:v>0.65</c:v>
                </c:pt>
                <c:pt idx="1">
                  <c:v>0.53</c:v>
                </c:pt>
                <c:pt idx="2">
                  <c:v>0.4</c:v>
                </c:pt>
                <c:pt idx="3">
                  <c:v>0.41</c:v>
                </c:pt>
                <c:pt idx="4">
                  <c:v>0.01</c:v>
                </c:pt>
                <c:pt idx="5">
                  <c:v>0.01</c:v>
                </c:pt>
                <c:pt idx="6">
                  <c:v>0.0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8CT</c:v>
                </c:pt>
                <c:pt idx="5">
                  <c:v>EQUATE CALIBER 5 5 BLADE REFILL NORMAL 4CT</c:v>
                </c:pt>
                <c:pt idx="6">
                  <c:v>EQUATE CALIBER 5 BLACK 5 BLADE RAZOR NORMAL 2CT</c:v>
                </c:pt>
                <c:pt idx="7">
                  <c:v>EQUATE CALIBER 5 5 BLADE RAZOR NORMAL 2CT</c:v>
                </c:pt>
              </c:strCache>
            </c:strRef>
          </c:cat>
          <c:val>
            <c:numRef>
              <c:f>Sheet1!$C$2:$C$9</c:f>
              <c:numCache>
                <c:formatCode>General</c:formatCode>
                <c:ptCount val="8"/>
                <c:pt idx="0">
                  <c:v>0.47351642853664044</c:v>
                </c:pt>
                <c:pt idx="1">
                  <c:v>0.73185540703483465</c:v>
                </c:pt>
                <c:pt idx="2">
                  <c:v>0.93031726564448591</c:v>
                </c:pt>
                <c:pt idx="3">
                  <c:v>0.99980223474735486</c:v>
                </c:pt>
                <c:pt idx="4">
                  <c:v>0.99990259323377173</c:v>
                </c:pt>
                <c:pt idx="5">
                  <c:v>0.99998081381877313</c:v>
                </c:pt>
                <c:pt idx="6">
                  <c:v>0.99999409655962246</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8CT</c:v>
                </c:pt>
                <c:pt idx="5">
                  <c:v>EQUATE CALIBER 5 5 BLADE REFILL NORMAL 4CT</c:v>
                </c:pt>
                <c:pt idx="6">
                  <c:v>EQUATE CALIBER 5 BLACK 5 BLADE RAZOR NORMAL 2CT</c:v>
                </c:pt>
                <c:pt idx="7">
                  <c:v>EQUATE CALIBER 5 5 BLADE RAZOR NORMAL 2CT</c:v>
                </c:pt>
              </c:strCache>
            </c:strRef>
          </c:cat>
          <c:val>
            <c:numRef>
              <c:f>Sheet1!$D$2:$D$9</c:f>
              <c:numCache>
                <c:formatCode>General</c:formatCode>
                <c:ptCount val="8"/>
                <c:pt idx="0">
                  <c:v>4936.0153846153844</c:v>
                </c:pt>
                <c:pt idx="1">
                  <c:v>3302.6981132075471</c:v>
                </c:pt>
                <c:pt idx="2">
                  <c:v>3361.8</c:v>
                </c:pt>
                <c:pt idx="3">
                  <c:v>1148.3170731707316</c:v>
                </c:pt>
                <c:pt idx="4">
                  <c:v>68</c:v>
                </c:pt>
                <c:pt idx="5">
                  <c:v>53</c:v>
                </c:pt>
                <c:pt idx="6">
                  <c:v>9</c:v>
                </c:pt>
                <c:pt idx="7">
                  <c:v>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4CT</c:v>
                </c:pt>
                <c:pt idx="5">
                  <c:v>EQUATE CALIBER 5 5 BLADE REFILL NORMAL 8CT</c:v>
                </c:pt>
                <c:pt idx="6">
                  <c:v>EQUATE CALIBER 5 5 BLADE REFILL NORMAL 12CT</c:v>
                </c:pt>
                <c:pt idx="7">
                  <c:v>EQUATE CALIBER 5 BLACK 5 BLADE RAZOR NORMAL 2CT</c:v>
                </c:pt>
              </c:strCache>
            </c:strRef>
          </c:cat>
          <c:val>
            <c:numRef>
              <c:f>Sheet1!$B$2:$B$9</c:f>
              <c:numCache>
                <c:formatCode>General</c:formatCode>
                <c:ptCount val="8"/>
                <c:pt idx="0">
                  <c:v>0.83</c:v>
                </c:pt>
                <c:pt idx="1">
                  <c:v>0.7</c:v>
                </c:pt>
                <c:pt idx="2">
                  <c:v>0.54</c:v>
                </c:pt>
                <c:pt idx="3">
                  <c:v>0.67</c:v>
                </c:pt>
                <c:pt idx="4">
                  <c:v>0.01</c:v>
                </c:pt>
                <c:pt idx="5">
                  <c:v>0.01</c:v>
                </c:pt>
                <c:pt idx="6">
                  <c:v>0.0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4CT</c:v>
                </c:pt>
                <c:pt idx="5">
                  <c:v>EQUATE CALIBER 5 5 BLADE REFILL NORMAL 8CT</c:v>
                </c:pt>
                <c:pt idx="6">
                  <c:v>EQUATE CALIBER 5 5 BLADE REFILL NORMAL 12CT</c:v>
                </c:pt>
                <c:pt idx="7">
                  <c:v>EQUATE CALIBER 5 BLACK 5 BLADE RAZOR NORMAL 2CT</c:v>
                </c:pt>
              </c:strCache>
            </c:strRef>
          </c:cat>
          <c:val>
            <c:numRef>
              <c:f>Sheet1!$C$2:$C$9</c:f>
              <c:numCache>
                <c:formatCode>General</c:formatCode>
                <c:ptCount val="8"/>
                <c:pt idx="0">
                  <c:v>0.45132667413641026</c:v>
                </c:pt>
                <c:pt idx="1">
                  <c:v>0.69525035560747295</c:v>
                </c:pt>
                <c:pt idx="2">
                  <c:v>0.92050762470101166</c:v>
                </c:pt>
                <c:pt idx="3">
                  <c:v>0.99984424790012805</c:v>
                </c:pt>
                <c:pt idx="4">
                  <c:v>0.99993324910005499</c:v>
                </c:pt>
                <c:pt idx="5">
                  <c:v>0.99997298177859373</c:v>
                </c:pt>
                <c:pt idx="6">
                  <c:v>0.99999682138571699</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4CT</c:v>
                </c:pt>
                <c:pt idx="5">
                  <c:v>EQUATE CALIBER 5 5 BLADE REFILL NORMAL 8CT</c:v>
                </c:pt>
                <c:pt idx="6">
                  <c:v>EQUATE CALIBER 5 5 BLADE REFILL NORMAL 12CT</c:v>
                </c:pt>
                <c:pt idx="7">
                  <c:v>EQUATE CALIBER 5 BLACK 5 BLADE RAZOR NORMAL 2CT</c:v>
                </c:pt>
              </c:strCache>
            </c:strRef>
          </c:cat>
          <c:val>
            <c:numRef>
              <c:f>Sheet1!$D$2:$D$9</c:f>
              <c:numCache>
                <c:formatCode>General</c:formatCode>
                <c:ptCount val="8"/>
                <c:pt idx="0">
                  <c:v>3421.4096385542171</c:v>
                </c:pt>
                <c:pt idx="1">
                  <c:v>2192.542857142857</c:v>
                </c:pt>
                <c:pt idx="2">
                  <c:v>2624.6851851851852</c:v>
                </c:pt>
                <c:pt idx="3">
                  <c:v>745.05970149253733</c:v>
                </c:pt>
                <c:pt idx="4">
                  <c:v>56</c:v>
                </c:pt>
                <c:pt idx="5">
                  <c:v>25</c:v>
                </c:pt>
                <c:pt idx="6">
                  <c:v>15</c:v>
                </c:pt>
                <c:pt idx="7">
                  <c:v>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4CT</c:v>
                </c:pt>
                <c:pt idx="5">
                  <c:v>EQUATE CALIBER 5 5 BLADE REFILL NORMAL 8CT</c:v>
                </c:pt>
                <c:pt idx="6">
                  <c:v>EQUATE CALIBER 5 BLACK 5 BLADE RAZOR NORMAL 2CT</c:v>
                </c:pt>
                <c:pt idx="7">
                  <c:v>EQUATE EASY FIT 3 3 BLADE REFILL NORMAL 15CT</c:v>
                </c:pt>
                <c:pt idx="8">
                  <c:v>EQUATE EASY FIT 3 3 BLADE REFILL NORMAL 5CT</c:v>
                </c:pt>
                <c:pt idx="9">
                  <c:v>EQUATE CALIBER 3 3 BLADE RAZOR SENSITIVE 20CT</c:v>
                </c:pt>
                <c:pt idx="10">
                  <c:v>EQUATE EASY FIT 3 3 BLADE RAZOR NORMAL 2CT</c:v>
                </c:pt>
                <c:pt idx="11">
                  <c:v>EQUATE CALIBER 5 5 BLADE RAZOR NORMAL 1CT</c:v>
                </c:pt>
                <c:pt idx="12">
                  <c:v>EQUATE CALIBER 5 5 BLADE RAZOR NORMAL 2CT</c:v>
                </c:pt>
                <c:pt idx="13">
                  <c:v>PERSONA M5 MAGNUM 5 BLADE REFILL NORMAL 4CT</c:v>
                </c:pt>
                <c:pt idx="14">
                  <c:v>EQUATE EASY FIT 3 3 BLADE REFILL NORMAL 10CT</c:v>
                </c:pt>
              </c:strCache>
            </c:strRef>
          </c:cat>
          <c:val>
            <c:numRef>
              <c:f>Sheet1!$B$2:$B$16</c:f>
              <c:numCache>
                <c:formatCode>General</c:formatCode>
                <c:ptCount val="15"/>
                <c:pt idx="0">
                  <c:v>0.86</c:v>
                </c:pt>
                <c:pt idx="1">
                  <c:v>0.77</c:v>
                </c:pt>
                <c:pt idx="2">
                  <c:v>0.6</c:v>
                </c:pt>
                <c:pt idx="3">
                  <c:v>0.71</c:v>
                </c:pt>
                <c:pt idx="4">
                  <c:v>0.01</c:v>
                </c:pt>
                <c:pt idx="5">
                  <c:v>0.01</c:v>
                </c:pt>
                <c:pt idx="6">
                  <c:v>0.01</c:v>
                </c:pt>
                <c:pt idx="7">
                  <c:v>0.01</c:v>
                </c:pt>
                <c:pt idx="8">
                  <c:v>0.01</c:v>
                </c:pt>
                <c:pt idx="9">
                  <c:v>0.01</c:v>
                </c:pt>
                <c:pt idx="10">
                  <c:v>0.01</c:v>
                </c:pt>
                <c:pt idx="11">
                  <c:v>0.01</c:v>
                </c:pt>
                <c:pt idx="12">
                  <c:v>0.01</c:v>
                </c:pt>
                <c:pt idx="13">
                  <c:v>0.01</c:v>
                </c:pt>
                <c:pt idx="1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4CT</c:v>
                </c:pt>
                <c:pt idx="5">
                  <c:v>EQUATE CALIBER 5 5 BLADE REFILL NORMAL 8CT</c:v>
                </c:pt>
                <c:pt idx="6">
                  <c:v>EQUATE CALIBER 5 BLACK 5 BLADE RAZOR NORMAL 2CT</c:v>
                </c:pt>
                <c:pt idx="7">
                  <c:v>EQUATE EASY FIT 3 3 BLADE REFILL NORMAL 15CT</c:v>
                </c:pt>
                <c:pt idx="8">
                  <c:v>EQUATE EASY FIT 3 3 BLADE REFILL NORMAL 5CT</c:v>
                </c:pt>
                <c:pt idx="9">
                  <c:v>EQUATE CALIBER 3 3 BLADE RAZOR SENSITIVE 20CT</c:v>
                </c:pt>
                <c:pt idx="10">
                  <c:v>EQUATE EASY FIT 3 3 BLADE RAZOR NORMAL 2CT</c:v>
                </c:pt>
                <c:pt idx="11">
                  <c:v>EQUATE CALIBER 5 5 BLADE RAZOR NORMAL 1CT</c:v>
                </c:pt>
                <c:pt idx="12">
                  <c:v>EQUATE CALIBER 5 5 BLADE RAZOR NORMAL 2CT</c:v>
                </c:pt>
                <c:pt idx="13">
                  <c:v>PERSONA M5 MAGNUM 5 BLADE REFILL NORMAL 4CT</c:v>
                </c:pt>
                <c:pt idx="14">
                  <c:v>EQUATE EASY FIT 3 3 BLADE REFILL NORMAL 10CT</c:v>
                </c:pt>
              </c:strCache>
            </c:strRef>
          </c:cat>
          <c:val>
            <c:numRef>
              <c:f>Sheet1!$C$2:$C$16</c:f>
              <c:numCache>
                <c:formatCode>General</c:formatCode>
                <c:ptCount val="15"/>
                <c:pt idx="0">
                  <c:v>0.46210283494244953</c:v>
                </c:pt>
                <c:pt idx="1">
                  <c:v>0.69981003400192665</c:v>
                </c:pt>
                <c:pt idx="2">
                  <c:v>0.92921329397136521</c:v>
                </c:pt>
                <c:pt idx="3">
                  <c:v>0.99986916526158742</c:v>
                </c:pt>
                <c:pt idx="4">
                  <c:v>0.99994701541677067</c:v>
                </c:pt>
                <c:pt idx="5">
                  <c:v>0.99997710973049081</c:v>
                </c:pt>
                <c:pt idx="6">
                  <c:v>0.99998594049436229</c:v>
                </c:pt>
                <c:pt idx="7">
                  <c:v>0.9999902396820366</c:v>
                </c:pt>
                <c:pt idx="8">
                  <c:v>0.99999337692709622</c:v>
                </c:pt>
                <c:pt idx="9">
                  <c:v>0.99999593320084856</c:v>
                </c:pt>
                <c:pt idx="10">
                  <c:v>0.99999755992050909</c:v>
                </c:pt>
                <c:pt idx="11">
                  <c:v>0.99999837328033936</c:v>
                </c:pt>
                <c:pt idx="12">
                  <c:v>0.99999907044590819</c:v>
                </c:pt>
                <c:pt idx="13">
                  <c:v>0.99999965141721547</c:v>
                </c:pt>
                <c:pt idx="1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6</c:f>
              <c:strCache>
                <c:ptCount val="15"/>
                <c:pt idx="0">
                  <c:v>EQUATE EASY FIT 5 5 BLADE REFILL NORMAL 4CT</c:v>
                </c:pt>
                <c:pt idx="1">
                  <c:v>EQUATE EASY FIT 5 5 BLADE RAZOR NORMAL 2CT</c:v>
                </c:pt>
                <c:pt idx="2">
                  <c:v>EQUATE EASY FIT 5 5 BLADE REFILL NORMAL 8CT</c:v>
                </c:pt>
                <c:pt idx="3">
                  <c:v>EQUATE EASY FIT 5 5 BLADE REFILL NORMAL 12CT</c:v>
                </c:pt>
                <c:pt idx="4">
                  <c:v>EQUATE CALIBER 5 5 BLADE REFILL NORMAL 4CT</c:v>
                </c:pt>
                <c:pt idx="5">
                  <c:v>EQUATE CALIBER 5 5 BLADE REFILL NORMAL 8CT</c:v>
                </c:pt>
                <c:pt idx="6">
                  <c:v>EQUATE CALIBER 5 BLACK 5 BLADE RAZOR NORMAL 2CT</c:v>
                </c:pt>
                <c:pt idx="7">
                  <c:v>EQUATE EASY FIT 3 3 BLADE REFILL NORMAL 15CT</c:v>
                </c:pt>
                <c:pt idx="8">
                  <c:v>EQUATE EASY FIT 3 3 BLADE REFILL NORMAL 5CT</c:v>
                </c:pt>
                <c:pt idx="9">
                  <c:v>EQUATE CALIBER 3 3 BLADE RAZOR SENSITIVE 20CT</c:v>
                </c:pt>
                <c:pt idx="10">
                  <c:v>EQUATE EASY FIT 3 3 BLADE RAZOR NORMAL 2CT</c:v>
                </c:pt>
                <c:pt idx="11">
                  <c:v>EQUATE CALIBER 5 5 BLADE RAZOR NORMAL 1CT</c:v>
                </c:pt>
                <c:pt idx="12">
                  <c:v>EQUATE CALIBER 5 5 BLADE RAZOR NORMAL 2CT</c:v>
                </c:pt>
                <c:pt idx="13">
                  <c:v>PERSONA M5 MAGNUM 5 BLADE REFILL NORMAL 4CT</c:v>
                </c:pt>
                <c:pt idx="14">
                  <c:v>EQUATE EASY FIT 3 3 BLADE REFILL NORMAL 10CT</c:v>
                </c:pt>
              </c:strCache>
            </c:strRef>
          </c:cat>
          <c:val>
            <c:numRef>
              <c:f>Sheet1!$D$2:$D$16</c:f>
              <c:numCache>
                <c:formatCode>General</c:formatCode>
                <c:ptCount val="15"/>
                <c:pt idx="0">
                  <c:v>46244.011627906977</c:v>
                </c:pt>
                <c:pt idx="1">
                  <c:v>26568.493506493505</c:v>
                </c:pt>
                <c:pt idx="2">
                  <c:v>32905.133333333331</c:v>
                </c:pt>
                <c:pt idx="3">
                  <c:v>8564.5633802816901</c:v>
                </c:pt>
                <c:pt idx="4">
                  <c:v>670</c:v>
                </c:pt>
                <c:pt idx="5">
                  <c:v>259</c:v>
                </c:pt>
                <c:pt idx="6">
                  <c:v>76</c:v>
                </c:pt>
                <c:pt idx="7">
                  <c:v>37</c:v>
                </c:pt>
                <c:pt idx="8">
                  <c:v>27</c:v>
                </c:pt>
                <c:pt idx="9">
                  <c:v>22</c:v>
                </c:pt>
                <c:pt idx="10">
                  <c:v>14</c:v>
                </c:pt>
                <c:pt idx="11">
                  <c:v>7</c:v>
                </c:pt>
                <c:pt idx="12">
                  <c:v>6</c:v>
                </c:pt>
                <c:pt idx="13">
                  <c:v>5</c:v>
                </c:pt>
                <c:pt idx="14">
                  <c:v>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EQUATE EASY FIT 5 5 BLADE REFILL NORMAL 4CT</c:v>
                </c:pt>
                <c:pt idx="1">
                  <c:v>EQUATE EASY FIT 5 5 BLADE REFILL NORMAL 8CT</c:v>
                </c:pt>
                <c:pt idx="2">
                  <c:v>EQUATE EASY FIT 5 5 BLADE REFILL NORMAL 12CT</c:v>
                </c:pt>
                <c:pt idx="3">
                  <c:v>EQUATE CALIBER 5 5 BLADE REFILL NORMAL 4CT</c:v>
                </c:pt>
                <c:pt idx="4">
                  <c:v>EQUATE CALIBER 5 5 BLADE REFILL NORMAL 8CT</c:v>
                </c:pt>
                <c:pt idx="5">
                  <c:v>EQUATE EASY FIT 3 3 BLADE REFILL NORMAL 15CT</c:v>
                </c:pt>
                <c:pt idx="6">
                  <c:v>EQUATE EASY FIT 3 3 BLADE REFILL NORMAL 5CT</c:v>
                </c:pt>
                <c:pt idx="7">
                  <c:v>EQUATE CALIBER 5 5 BLADE REFILL NORMAL 12CT</c:v>
                </c:pt>
                <c:pt idx="8">
                  <c:v>PERSONA M5 MAGNUM 5 BLADE REFILL NORMAL 4CT</c:v>
                </c:pt>
                <c:pt idx="9">
                  <c:v>EQUATE EASY FIT 3 3 BLADE REFILL NORMAL 10CT</c:v>
                </c:pt>
              </c:strCache>
            </c:strRef>
          </c:cat>
          <c:val>
            <c:numRef>
              <c:f>Sheet1!$B$2:$B$11</c:f>
              <c:numCache>
                <c:formatCode>General</c:formatCode>
                <c:ptCount val="10"/>
                <c:pt idx="0">
                  <c:v>0.84499999999999997</c:v>
                </c:pt>
                <c:pt idx="1">
                  <c:v>0.58399999999999996</c:v>
                </c:pt>
                <c:pt idx="2">
                  <c:v>0.68899999999999995</c:v>
                </c:pt>
                <c:pt idx="3">
                  <c:v>0.01</c:v>
                </c:pt>
                <c:pt idx="4">
                  <c:v>0.01</c:v>
                </c:pt>
                <c:pt idx="5">
                  <c:v>8.9999999999999993E-3</c:v>
                </c:pt>
                <c:pt idx="6">
                  <c:v>8.9999999999999993E-3</c:v>
                </c:pt>
                <c:pt idx="7">
                  <c:v>1E-3</c:v>
                </c:pt>
                <c:pt idx="8">
                  <c:v>8.9999999999999993E-3</c:v>
                </c:pt>
                <c:pt idx="9">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EQUATE EASY FIT 5 5 BLADE REFILL NORMAL 4CT</c:v>
                </c:pt>
                <c:pt idx="1">
                  <c:v>EQUATE EASY FIT 5 5 BLADE REFILL NORMAL 8CT</c:v>
                </c:pt>
                <c:pt idx="2">
                  <c:v>EQUATE EASY FIT 5 5 BLADE REFILL NORMAL 12CT</c:v>
                </c:pt>
                <c:pt idx="3">
                  <c:v>EQUATE CALIBER 5 5 BLADE REFILL NORMAL 4CT</c:v>
                </c:pt>
                <c:pt idx="4">
                  <c:v>EQUATE CALIBER 5 5 BLADE REFILL NORMAL 8CT</c:v>
                </c:pt>
                <c:pt idx="5">
                  <c:v>EQUATE EASY FIT 3 3 BLADE REFILL NORMAL 15CT</c:v>
                </c:pt>
                <c:pt idx="6">
                  <c:v>EQUATE EASY FIT 3 3 BLADE REFILL NORMAL 5CT</c:v>
                </c:pt>
                <c:pt idx="7">
                  <c:v>EQUATE CALIBER 5 5 BLADE REFILL NORMAL 12CT</c:v>
                </c:pt>
                <c:pt idx="8">
                  <c:v>PERSONA M5 MAGNUM 5 BLADE REFILL NORMAL 4CT</c:v>
                </c:pt>
                <c:pt idx="9">
                  <c:v>EQUATE EASY FIT 3 3 BLADE REFILL NORMAL 10CT</c:v>
                </c:pt>
              </c:strCache>
            </c:strRef>
          </c:cat>
          <c:val>
            <c:numRef>
              <c:f>Sheet1!$C$2:$C$11</c:f>
              <c:numCache>
                <c:formatCode>General</c:formatCode>
                <c:ptCount val="10"/>
                <c:pt idx="0">
                  <c:v>0.6077775793918726</c:v>
                </c:pt>
                <c:pt idx="1">
                  <c:v>0.90630882212097752</c:v>
                </c:pt>
                <c:pt idx="2">
                  <c:v>0.99983843192479038</c:v>
                </c:pt>
                <c:pt idx="3">
                  <c:v>0.9999417665147643</c:v>
                </c:pt>
                <c:pt idx="4">
                  <c:v>0.99998845942319925</c:v>
                </c:pt>
                <c:pt idx="5">
                  <c:v>0.99999336748459722</c:v>
                </c:pt>
                <c:pt idx="6">
                  <c:v>0.9999969490429147</c:v>
                </c:pt>
                <c:pt idx="7">
                  <c:v>0.99999893879753554</c:v>
                </c:pt>
                <c:pt idx="8">
                  <c:v>0.99999960204907579</c:v>
                </c:pt>
                <c:pt idx="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EQUATE EASY FIT 5 5 BLADE REFILL NORMAL 4CT</c:v>
                </c:pt>
                <c:pt idx="1">
                  <c:v>EQUATE EASY FIT 5 5 BLADE REFILL NORMAL 8CT</c:v>
                </c:pt>
                <c:pt idx="2">
                  <c:v>EQUATE EASY FIT 5 5 BLADE REFILL NORMAL 12CT</c:v>
                </c:pt>
                <c:pt idx="3">
                  <c:v>EQUATE CALIBER 5 5 BLADE REFILL NORMAL 4CT</c:v>
                </c:pt>
                <c:pt idx="4">
                  <c:v>EQUATE CALIBER 5 5 BLADE REFILL NORMAL 8CT</c:v>
                </c:pt>
                <c:pt idx="5">
                  <c:v>EQUATE EASY FIT 3 3 BLADE REFILL NORMAL 15CT</c:v>
                </c:pt>
                <c:pt idx="6">
                  <c:v>EQUATE EASY FIT 3 3 BLADE REFILL NORMAL 5CT</c:v>
                </c:pt>
                <c:pt idx="7">
                  <c:v>EQUATE CALIBER 5 5 BLADE REFILL NORMAL 12CT</c:v>
                </c:pt>
                <c:pt idx="8">
                  <c:v>PERSONA M5 MAGNUM 5 BLADE REFILL NORMAL 4CT</c:v>
                </c:pt>
                <c:pt idx="9">
                  <c:v>EQUATE EASY FIT 3 3 BLADE REFILL NORMAL 10CT</c:v>
                </c:pt>
              </c:strCache>
            </c:strRef>
          </c:cat>
          <c:val>
            <c:numRef>
              <c:f>Sheet1!$D$2:$D$11</c:f>
              <c:numCache>
                <c:formatCode>General</c:formatCode>
                <c:ptCount val="10"/>
                <c:pt idx="0">
                  <c:v>54222.520710059172</c:v>
                </c:pt>
                <c:pt idx="1">
                  <c:v>38536.181506849316</c:v>
                </c:pt>
                <c:pt idx="2">
                  <c:v>10233.439767779391</c:v>
                </c:pt>
                <c:pt idx="3">
                  <c:v>779</c:v>
                </c:pt>
                <c:pt idx="4">
                  <c:v>352</c:v>
                </c:pt>
                <c:pt idx="5">
                  <c:v>41.111111111111114</c:v>
                </c:pt>
                <c:pt idx="6">
                  <c:v>30.000000000000004</c:v>
                </c:pt>
                <c:pt idx="7">
                  <c:v>150</c:v>
                </c:pt>
                <c:pt idx="8">
                  <c:v>5.5555555555555562</c:v>
                </c:pt>
                <c:pt idx="9">
                  <c:v>3.3333333333333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EQUATE EASY FIT 5 5 BLADE REFILL NORMAL 4CT</c:v>
                </c:pt>
                <c:pt idx="1">
                  <c:v>EQUATE EASY FIT 5 5 BLADE REFILL NORMAL 8CT</c:v>
                </c:pt>
                <c:pt idx="2">
                  <c:v>EQUATE EASY FIT 5 5 BLADE REFILL NORMAL 12CT</c:v>
                </c:pt>
                <c:pt idx="3">
                  <c:v>EQUATE CALIBER 5 5 BLADE REFILL NORMAL 8CT</c:v>
                </c:pt>
                <c:pt idx="4">
                  <c:v>EQUATE CALIBER 5 5 BLADE REFILL NORMAL 4CT</c:v>
                </c:pt>
              </c:strCache>
            </c:strRef>
          </c:cat>
          <c:val>
            <c:numRef>
              <c:f>Sheet1!$B$2:$B$6</c:f>
              <c:numCache>
                <c:formatCode>General</c:formatCode>
                <c:ptCount val="5"/>
                <c:pt idx="0">
                  <c:v>0.65</c:v>
                </c:pt>
                <c:pt idx="1">
                  <c:v>0.4</c:v>
                </c:pt>
                <c:pt idx="2">
                  <c:v>0.41</c:v>
                </c:pt>
                <c:pt idx="3">
                  <c:v>0.01</c:v>
                </c:pt>
                <c:pt idx="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EQUATE EASY FIT 5 5 BLADE REFILL NORMAL 4CT</c:v>
                </c:pt>
                <c:pt idx="1">
                  <c:v>EQUATE EASY FIT 5 5 BLADE REFILL NORMAL 8CT</c:v>
                </c:pt>
                <c:pt idx="2">
                  <c:v>EQUATE EASY FIT 5 5 BLADE REFILL NORMAL 12CT</c:v>
                </c:pt>
                <c:pt idx="3">
                  <c:v>EQUATE CALIBER 5 5 BLADE REFILL NORMAL 8CT</c:v>
                </c:pt>
                <c:pt idx="4">
                  <c:v>EQUATE CALIBER 5 5 BLADE REFILL NORMAL 4CT</c:v>
                </c:pt>
              </c:strCache>
            </c:strRef>
          </c:cat>
          <c:val>
            <c:numRef>
              <c:f>Sheet1!$C$2:$C$6</c:f>
              <c:numCache>
                <c:formatCode>General</c:formatCode>
                <c:ptCount val="5"/>
                <c:pt idx="0">
                  <c:v>0.63847049341810691</c:v>
                </c:pt>
                <c:pt idx="1">
                  <c:v>0.90606847556789349</c:v>
                </c:pt>
                <c:pt idx="2">
                  <c:v>0.99975921116782585</c:v>
                </c:pt>
                <c:pt idx="3">
                  <c:v>0.9998945305115269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EQUATE EASY FIT 5 5 BLADE REFILL NORMAL 4CT</c:v>
                </c:pt>
                <c:pt idx="1">
                  <c:v>EQUATE EASY FIT 5 5 BLADE REFILL NORMAL 8CT</c:v>
                </c:pt>
                <c:pt idx="2">
                  <c:v>EQUATE EASY FIT 5 5 BLADE REFILL NORMAL 12CT</c:v>
                </c:pt>
                <c:pt idx="3">
                  <c:v>EQUATE CALIBER 5 5 BLADE REFILL NORMAL 8CT</c:v>
                </c:pt>
                <c:pt idx="4">
                  <c:v>EQUATE CALIBER 5 5 BLADE REFILL NORMAL 4CT</c:v>
                </c:pt>
              </c:strCache>
            </c:strRef>
          </c:cat>
          <c:val>
            <c:numRef>
              <c:f>Sheet1!$D$2:$D$6</c:f>
              <c:numCache>
                <c:formatCode>General</c:formatCode>
                <c:ptCount val="5"/>
                <c:pt idx="0">
                  <c:v>4936.0153846153844</c:v>
                </c:pt>
                <c:pt idx="1">
                  <c:v>3361.8</c:v>
                </c:pt>
                <c:pt idx="2">
                  <c:v>1148.3170731707316</c:v>
                </c:pt>
                <c:pt idx="3">
                  <c:v>68</c:v>
                </c:pt>
                <c:pt idx="4">
                  <c:v>5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EQUATE EASY FIT 5 5 BLADE REFILL NORMAL 4CT</c:v>
                </c:pt>
                <c:pt idx="1">
                  <c:v>EQUATE EASY FIT 5 5 BLADE REFILL NORMAL 8CT</c:v>
                </c:pt>
                <c:pt idx="2">
                  <c:v>EQUATE EASY FIT 5 5 BLADE REFILL NORMAL 12CT</c:v>
                </c:pt>
                <c:pt idx="3">
                  <c:v>EQUATE CALIBER 5 5 BLADE REFILL NORMAL 4CT</c:v>
                </c:pt>
                <c:pt idx="4">
                  <c:v>EQUATE CALIBER 5 5 BLADE REFILL NORMAL 8CT</c:v>
                </c:pt>
                <c:pt idx="5">
                  <c:v>EQUATE CALIBER 5 5 BLADE REFILL NORMAL 12CT</c:v>
                </c:pt>
              </c:strCache>
            </c:strRef>
          </c:cat>
          <c:val>
            <c:numRef>
              <c:f>Sheet1!$B$2:$B$7</c:f>
              <c:numCache>
                <c:formatCode>General</c:formatCode>
                <c:ptCount val="6"/>
                <c:pt idx="0">
                  <c:v>0.83</c:v>
                </c:pt>
                <c:pt idx="1">
                  <c:v>0.54</c:v>
                </c:pt>
                <c:pt idx="2">
                  <c:v>0.67</c:v>
                </c:pt>
                <c:pt idx="3">
                  <c:v>0.01</c:v>
                </c:pt>
                <c:pt idx="4">
                  <c:v>0.01</c:v>
                </c:pt>
                <c:pt idx="5">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EQUATE EASY FIT 5 5 BLADE REFILL NORMAL 4CT</c:v>
                </c:pt>
                <c:pt idx="1">
                  <c:v>EQUATE EASY FIT 5 5 BLADE REFILL NORMAL 8CT</c:v>
                </c:pt>
                <c:pt idx="2">
                  <c:v>EQUATE EASY FIT 5 5 BLADE REFILL NORMAL 12CT</c:v>
                </c:pt>
                <c:pt idx="3">
                  <c:v>EQUATE CALIBER 5 5 BLADE REFILL NORMAL 4CT</c:v>
                </c:pt>
                <c:pt idx="4">
                  <c:v>EQUATE CALIBER 5 5 BLADE REFILL NORMAL 8CT</c:v>
                </c:pt>
                <c:pt idx="5">
                  <c:v>EQUATE CALIBER 5 5 BLADE REFILL NORMAL 12CT</c:v>
                </c:pt>
              </c:strCache>
            </c:strRef>
          </c:cat>
          <c:val>
            <c:numRef>
              <c:f>Sheet1!$C$2:$C$7</c:f>
              <c:numCache>
                <c:formatCode>General</c:formatCode>
                <c:ptCount val="6"/>
                <c:pt idx="0">
                  <c:v>0.59693520416206847</c:v>
                </c:pt>
                <c:pt idx="1">
                  <c:v>0.89486573125229918</c:v>
                </c:pt>
                <c:pt idx="2">
                  <c:v>0.99979820274318154</c:v>
                </c:pt>
                <c:pt idx="3">
                  <c:v>0.99991591780965905</c:v>
                </c:pt>
                <c:pt idx="4">
                  <c:v>0.99996846917862225</c:v>
                </c:pt>
                <c:pt idx="5">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EQUATE EASY FIT 5 5 BLADE REFILL NORMAL 4CT</c:v>
                </c:pt>
                <c:pt idx="1">
                  <c:v>EQUATE EASY FIT 5 5 BLADE REFILL NORMAL 8CT</c:v>
                </c:pt>
                <c:pt idx="2">
                  <c:v>EQUATE EASY FIT 5 5 BLADE REFILL NORMAL 12CT</c:v>
                </c:pt>
                <c:pt idx="3">
                  <c:v>EQUATE CALIBER 5 5 BLADE REFILL NORMAL 4CT</c:v>
                </c:pt>
                <c:pt idx="4">
                  <c:v>EQUATE CALIBER 5 5 BLADE REFILL NORMAL 8CT</c:v>
                </c:pt>
                <c:pt idx="5">
                  <c:v>EQUATE CALIBER 5 5 BLADE REFILL NORMAL 12CT</c:v>
                </c:pt>
              </c:strCache>
            </c:strRef>
          </c:cat>
          <c:val>
            <c:numRef>
              <c:f>Sheet1!$D$2:$D$7</c:f>
              <c:numCache>
                <c:formatCode>General</c:formatCode>
                <c:ptCount val="6"/>
                <c:pt idx="0">
                  <c:v>3421.4096385542171</c:v>
                </c:pt>
                <c:pt idx="1">
                  <c:v>2624.6851851851852</c:v>
                </c:pt>
                <c:pt idx="2">
                  <c:v>745.05970149253733</c:v>
                </c:pt>
                <c:pt idx="3">
                  <c:v>56</c:v>
                </c:pt>
                <c:pt idx="4">
                  <c:v>25</c:v>
                </c:pt>
                <c:pt idx="5">
                  <c:v>1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EQUATE EASY FIT 5 5 BLADE REFILL NORMAL 4CT</c:v>
                </c:pt>
                <c:pt idx="1">
                  <c:v>EQUATE EASY FIT 5 5 BLADE REFILL NORMAL 8CT</c:v>
                </c:pt>
                <c:pt idx="2">
                  <c:v>EQUATE EASY FIT 5 5 BLADE REFILL NORMAL 12CT</c:v>
                </c:pt>
                <c:pt idx="3">
                  <c:v>EQUATE CALIBER 5 5 BLADE REFILL NORMAL 4CT</c:v>
                </c:pt>
                <c:pt idx="4">
                  <c:v>EQUATE CALIBER 5 5 BLADE REFILL NORMAL 8CT</c:v>
                </c:pt>
                <c:pt idx="5">
                  <c:v>EQUATE EASY FIT 3 3 BLADE REFILL NORMAL 15CT</c:v>
                </c:pt>
                <c:pt idx="6">
                  <c:v>EQUATE EASY FIT 3 3 BLADE REFILL NORMAL 5CT</c:v>
                </c:pt>
                <c:pt idx="7">
                  <c:v>PERSONA M5 MAGNUM 5 BLADE REFILL NORMAL 4CT</c:v>
                </c:pt>
                <c:pt idx="8">
                  <c:v>EQUATE EASY FIT 3 3 BLADE REFILL NORMAL 10CT</c:v>
                </c:pt>
              </c:strCache>
            </c:strRef>
          </c:cat>
          <c:val>
            <c:numRef>
              <c:f>Sheet1!$B$2:$B$10</c:f>
              <c:numCache>
                <c:formatCode>General</c:formatCode>
                <c:ptCount val="9"/>
                <c:pt idx="0">
                  <c:v>0.86</c:v>
                </c:pt>
                <c:pt idx="1">
                  <c:v>0.6</c:v>
                </c:pt>
                <c:pt idx="2">
                  <c:v>0.71</c:v>
                </c:pt>
                <c:pt idx="3">
                  <c:v>0.01</c:v>
                </c:pt>
                <c:pt idx="4">
                  <c:v>0.01</c:v>
                </c:pt>
                <c:pt idx="5">
                  <c:v>0.01</c:v>
                </c:pt>
                <c:pt idx="6">
                  <c:v>0.01</c:v>
                </c:pt>
                <c:pt idx="7">
                  <c:v>0.01</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EQUATE EASY FIT 5 5 BLADE REFILL NORMAL 4CT</c:v>
                </c:pt>
                <c:pt idx="1">
                  <c:v>EQUATE EASY FIT 5 5 BLADE REFILL NORMAL 8CT</c:v>
                </c:pt>
                <c:pt idx="2">
                  <c:v>EQUATE EASY FIT 5 5 BLADE REFILL NORMAL 12CT</c:v>
                </c:pt>
                <c:pt idx="3">
                  <c:v>EQUATE CALIBER 5 5 BLADE REFILL NORMAL 4CT</c:v>
                </c:pt>
                <c:pt idx="4">
                  <c:v>EQUATE CALIBER 5 5 BLADE REFILL NORMAL 8CT</c:v>
                </c:pt>
                <c:pt idx="5">
                  <c:v>EQUATE EASY FIT 3 3 BLADE REFILL NORMAL 15CT</c:v>
                </c:pt>
                <c:pt idx="6">
                  <c:v>EQUATE EASY FIT 3 3 BLADE REFILL NORMAL 5CT</c:v>
                </c:pt>
                <c:pt idx="7">
                  <c:v>PERSONA M5 MAGNUM 5 BLADE REFILL NORMAL 4CT</c:v>
                </c:pt>
                <c:pt idx="8">
                  <c:v>EQUATE EASY FIT 3 3 BLADE REFILL NORMAL 10CT</c:v>
                </c:pt>
              </c:strCache>
            </c:strRef>
          </c:cat>
          <c:val>
            <c:numRef>
              <c:f>Sheet1!$C$2:$C$10</c:f>
              <c:numCache>
                <c:formatCode>General</c:formatCode>
                <c:ptCount val="9"/>
                <c:pt idx="0">
                  <c:v>0.60621278225126662</c:v>
                </c:pt>
                <c:pt idx="1">
                  <c:v>0.90715702662255127</c:v>
                </c:pt>
                <c:pt idx="2">
                  <c:v>0.99984741732869653</c:v>
                </c:pt>
                <c:pt idx="3">
                  <c:v>0.99994954559020832</c:v>
                </c:pt>
                <c:pt idx="4">
                  <c:v>0.99998902502264342</c:v>
                </c:pt>
                <c:pt idx="5">
                  <c:v>0.99999466494156275</c:v>
                </c:pt>
                <c:pt idx="6">
                  <c:v>0.99999878055807145</c:v>
                </c:pt>
                <c:pt idx="7">
                  <c:v>0.99999954270927671</c:v>
                </c:pt>
                <c:pt idx="8">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EQUATE EASY FIT 5 5 BLADE REFILL NORMAL 4CT</c:v>
                </c:pt>
                <c:pt idx="1">
                  <c:v>EQUATE EASY FIT 5 5 BLADE REFILL NORMAL 8CT</c:v>
                </c:pt>
                <c:pt idx="2">
                  <c:v>EQUATE EASY FIT 5 5 BLADE REFILL NORMAL 12CT</c:v>
                </c:pt>
                <c:pt idx="3">
                  <c:v>EQUATE CALIBER 5 5 BLADE REFILL NORMAL 4CT</c:v>
                </c:pt>
                <c:pt idx="4">
                  <c:v>EQUATE CALIBER 5 5 BLADE REFILL NORMAL 8CT</c:v>
                </c:pt>
                <c:pt idx="5">
                  <c:v>EQUATE EASY FIT 3 3 BLADE REFILL NORMAL 15CT</c:v>
                </c:pt>
                <c:pt idx="6">
                  <c:v>EQUATE EASY FIT 3 3 BLADE REFILL NORMAL 5CT</c:v>
                </c:pt>
                <c:pt idx="7">
                  <c:v>PERSONA M5 MAGNUM 5 BLADE REFILL NORMAL 4CT</c:v>
                </c:pt>
                <c:pt idx="8">
                  <c:v>EQUATE EASY FIT 3 3 BLADE REFILL NORMAL 10CT</c:v>
                </c:pt>
              </c:strCache>
            </c:strRef>
          </c:cat>
          <c:val>
            <c:numRef>
              <c:f>Sheet1!$D$2:$D$10</c:f>
              <c:numCache>
                <c:formatCode>General</c:formatCode>
                <c:ptCount val="9"/>
                <c:pt idx="0">
                  <c:v>46244.011627906977</c:v>
                </c:pt>
                <c:pt idx="1">
                  <c:v>32905.133333333331</c:v>
                </c:pt>
                <c:pt idx="2">
                  <c:v>8564.5633802816901</c:v>
                </c:pt>
                <c:pt idx="3">
                  <c:v>670</c:v>
                </c:pt>
                <c:pt idx="4">
                  <c:v>259</c:v>
                </c:pt>
                <c:pt idx="5">
                  <c:v>37</c:v>
                </c:pt>
                <c:pt idx="6">
                  <c:v>27</c:v>
                </c:pt>
                <c:pt idx="7">
                  <c:v>5</c:v>
                </c:pt>
                <c:pt idx="8">
                  <c:v>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9178393832722365</c:v>
                </c:pt>
                <c:pt idx="1">
                  <c:v>0.16414064550992524</c:v>
                </c:pt>
                <c:pt idx="2">
                  <c:v>0.13480606533282488</c:v>
                </c:pt>
                <c:pt idx="3">
                  <c:v>0.10662706404701726</c:v>
                </c:pt>
                <c:pt idx="4">
                  <c:v>2.64228678300894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2528451261751626</c:v>
                </c:pt>
                <c:pt idx="1">
                  <c:v>0.25903018307768433</c:v>
                </c:pt>
                <c:pt idx="2">
                  <c:v>0.14200890648193967</c:v>
                </c:pt>
                <c:pt idx="3">
                  <c:v>0.14646214745175659</c:v>
                </c:pt>
                <c:pt idx="4">
                  <c:v>2.721425037110341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71.864828541925988</c:v>
                </c:pt>
                <c:pt idx="1">
                  <c:v>157.80989667304635</c:v>
                </c:pt>
                <c:pt idx="2">
                  <c:v>105.34311355452115</c:v>
                </c:pt>
                <c:pt idx="3">
                  <c:v>137.35926123519076</c:v>
                </c:pt>
                <c:pt idx="4">
                  <c:v>1029.95066796317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EQUATE EASY FIT 5 5 BLADE RAZOR NORMAL 2CT</c:v>
                </c:pt>
                <c:pt idx="1">
                  <c:v>EQUATE CALIBER 5 BLACK 5 BLADE RAZOR NORMAL 2CT</c:v>
                </c:pt>
                <c:pt idx="2">
                  <c:v>EQUATE CALIBER 3 3 BLADE RAZOR SENSITIVE 20CT</c:v>
                </c:pt>
                <c:pt idx="3">
                  <c:v>EQUATE EASY FIT 3 3 BLADE RAZOR NORMAL 2CT</c:v>
                </c:pt>
                <c:pt idx="4">
                  <c:v>EQUATE CALIBER 5 5 BLADE RAZOR NORMAL 2CT</c:v>
                </c:pt>
                <c:pt idx="5">
                  <c:v>EQUATE CALIBER 5 5 BLADE RAZOR NORMAL 1CT</c:v>
                </c:pt>
              </c:strCache>
            </c:strRef>
          </c:cat>
          <c:val>
            <c:numRef>
              <c:f>Sheet1!$B$2:$B$7</c:f>
              <c:numCache>
                <c:formatCode>General</c:formatCode>
                <c:ptCount val="6"/>
                <c:pt idx="0">
                  <c:v>0.751</c:v>
                </c:pt>
                <c:pt idx="1">
                  <c:v>0.01</c:v>
                </c:pt>
                <c:pt idx="2">
                  <c:v>8.9999999999999993E-3</c:v>
                </c:pt>
                <c:pt idx="3">
                  <c:v>8.9999999999999993E-3</c:v>
                </c:pt>
                <c:pt idx="4">
                  <c:v>8.9999999999999993E-3</c:v>
                </c:pt>
                <c:pt idx="5">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EQUATE EASY FIT 5 5 BLADE RAZOR NORMAL 2CT</c:v>
                </c:pt>
                <c:pt idx="1">
                  <c:v>EQUATE CALIBER 5 BLACK 5 BLADE RAZOR NORMAL 2CT</c:v>
                </c:pt>
                <c:pt idx="2">
                  <c:v>EQUATE CALIBER 3 3 BLADE RAZOR SENSITIVE 20CT</c:v>
                </c:pt>
                <c:pt idx="3">
                  <c:v>EQUATE EASY FIT 3 3 BLADE RAZOR NORMAL 2CT</c:v>
                </c:pt>
                <c:pt idx="4">
                  <c:v>EQUATE CALIBER 5 5 BLADE RAZOR NORMAL 2CT</c:v>
                </c:pt>
                <c:pt idx="5">
                  <c:v>EQUATE CALIBER 5 5 BLADE RAZOR NORMAL 1CT</c:v>
                </c:pt>
              </c:strCache>
            </c:strRef>
          </c:cat>
          <c:val>
            <c:numRef>
              <c:f>Sheet1!$C$2:$C$7</c:f>
              <c:numCache>
                <c:formatCode>General</c:formatCode>
                <c:ptCount val="6"/>
                <c:pt idx="0">
                  <c:v>0.99994103860497341</c:v>
                </c:pt>
                <c:pt idx="1">
                  <c:v>0.99997767890045419</c:v>
                </c:pt>
                <c:pt idx="2">
                  <c:v>0.99998694426252976</c:v>
                </c:pt>
                <c:pt idx="3">
                  <c:v>0.9999928404020324</c:v>
                </c:pt>
                <c:pt idx="4">
                  <c:v>0.99999705193024857</c:v>
                </c:pt>
                <c:pt idx="5">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EQUATE EASY FIT 5 5 BLADE RAZOR NORMAL 2CT</c:v>
                </c:pt>
                <c:pt idx="1">
                  <c:v>EQUATE CALIBER 5 BLACK 5 BLADE RAZOR NORMAL 2CT</c:v>
                </c:pt>
                <c:pt idx="2">
                  <c:v>EQUATE CALIBER 3 3 BLADE RAZOR SENSITIVE 20CT</c:v>
                </c:pt>
                <c:pt idx="3">
                  <c:v>EQUATE EASY FIT 3 3 BLADE RAZOR NORMAL 2CT</c:v>
                </c:pt>
                <c:pt idx="4">
                  <c:v>EQUATE CALIBER 5 5 BLADE RAZOR NORMAL 2CT</c:v>
                </c:pt>
                <c:pt idx="5">
                  <c:v>EQUATE CALIBER 5 5 BLADE RAZOR NORMAL 1CT</c:v>
                </c:pt>
              </c:strCache>
            </c:strRef>
          </c:cat>
          <c:val>
            <c:numRef>
              <c:f>Sheet1!$D$2:$D$7</c:f>
              <c:numCache>
                <c:formatCode>General</c:formatCode>
                <c:ptCount val="6"/>
                <c:pt idx="0">
                  <c:v>31615.113182423436</c:v>
                </c:pt>
                <c:pt idx="1">
                  <c:v>87</c:v>
                </c:pt>
                <c:pt idx="2">
                  <c:v>24.444444444444446</c:v>
                </c:pt>
                <c:pt idx="3">
                  <c:v>15.555555555555557</c:v>
                </c:pt>
                <c:pt idx="4">
                  <c:v>11.111111111111112</c:v>
                </c:pt>
                <c:pt idx="5">
                  <c:v>7.777777777777778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CALIBER 3 3 BLADE RAZOR NORMAL 13CT</c:v>
                </c:pt>
              </c:strCache>
            </c:strRef>
          </c:cat>
          <c:val>
            <c:numRef>
              <c:f>Sheet1!$B$2:$B$2</c:f>
              <c:numCache>
                <c:formatCode>General</c:formatCode>
                <c:ptCount val="1"/>
                <c:pt idx="0">
                  <c:v>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CALIBER 3 3 BLADE RAZOR NORMAL 13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CALIBER 3 3 BLADE RAZOR NORMAL 13CT</c:v>
                </c:pt>
              </c:strCache>
            </c:strRef>
          </c:cat>
          <c:val>
            <c:numRef>
              <c:f>Sheet1!$D$2:$D$2</c:f>
              <c:numCache>
                <c:formatCode>General</c:formatCode>
                <c:ptCount val="1"/>
                <c:pt idx="0">
                  <c:v>532.98333333333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AZOR NORMAL 2CT</c:v>
                </c:pt>
                <c:pt idx="1">
                  <c:v>EQUATE CALIBER 5 BLACK 5 BLADE RAZOR NORMAL 2CT</c:v>
                </c:pt>
                <c:pt idx="2">
                  <c:v>EQUATE CALIBER 5 5 BLADE RAZOR NORMAL 2CT</c:v>
                </c:pt>
              </c:strCache>
            </c:strRef>
          </c:cat>
          <c:val>
            <c:numRef>
              <c:f>Sheet1!$B$2:$B$4</c:f>
              <c:numCache>
                <c:formatCode>General</c:formatCode>
                <c:ptCount val="3"/>
                <c:pt idx="0">
                  <c:v>0.53</c:v>
                </c:pt>
                <c:pt idx="1">
                  <c:v>0.01</c:v>
                </c:pt>
                <c:pt idx="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AZOR NORMAL 2CT</c:v>
                </c:pt>
                <c:pt idx="1">
                  <c:v>EQUATE CALIBER 5 BLACK 5 BLADE RAZOR NORMAL 2CT</c:v>
                </c:pt>
                <c:pt idx="2">
                  <c:v>EQUATE CALIBER 5 5 BLADE RAZOR NORMAL 2CT</c:v>
                </c:pt>
              </c:strCache>
            </c:strRef>
          </c:cat>
          <c:val>
            <c:numRef>
              <c:f>Sheet1!$C$2:$C$4</c:f>
              <c:numCache>
                <c:formatCode>General</c:formatCode>
                <c:ptCount val="3"/>
                <c:pt idx="0">
                  <c:v>0.99992573804953844</c:v>
                </c:pt>
                <c:pt idx="1">
                  <c:v>0.9999771501690887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AZOR NORMAL 2CT</c:v>
                </c:pt>
                <c:pt idx="1">
                  <c:v>EQUATE CALIBER 5 BLACK 5 BLADE RAZOR NORMAL 2CT</c:v>
                </c:pt>
                <c:pt idx="2">
                  <c:v>EQUATE CALIBER 5 5 BLADE RAZOR NORMAL 2CT</c:v>
                </c:pt>
              </c:strCache>
            </c:strRef>
          </c:cat>
          <c:val>
            <c:numRef>
              <c:f>Sheet1!$D$2:$D$4</c:f>
              <c:numCache>
                <c:formatCode>General</c:formatCode>
                <c:ptCount val="3"/>
                <c:pt idx="0">
                  <c:v>3302.6981132075471</c:v>
                </c:pt>
                <c:pt idx="1">
                  <c:v>9</c:v>
                </c:pt>
                <c:pt idx="2">
                  <c:v>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EQUATE EASY FIT 5 5 BLADE RAZOR NORMAL 2CT</c:v>
                </c:pt>
                <c:pt idx="1">
                  <c:v>EQUATE CALIBER 5 BLACK 5 BLADE RAZOR NORMAL 2CT</c:v>
                </c:pt>
              </c:strCache>
            </c:strRef>
          </c:cat>
          <c:val>
            <c:numRef>
              <c:f>Sheet1!$B$2:$B$3</c:f>
              <c:numCache>
                <c:formatCode>General</c:formatCode>
                <c:ptCount val="2"/>
                <c:pt idx="0">
                  <c:v>0.7</c:v>
                </c:pt>
                <c:pt idx="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EQUATE EASY FIT 5 5 BLADE RAZOR NORMAL 2CT</c:v>
                </c:pt>
                <c:pt idx="1">
                  <c:v>EQUATE CALIBER 5 BLACK 5 BLADE RAZOR NORMAL 2CT</c:v>
                </c:pt>
              </c:strCache>
            </c:strRef>
          </c:cat>
          <c:val>
            <c:numRef>
              <c:f>Sheet1!$C$2:$C$3</c:f>
              <c:numCache>
                <c:formatCode>General</c:formatCode>
                <c:ptCount val="2"/>
                <c:pt idx="0">
                  <c:v>0.999986968986187</c:v>
                </c:pt>
                <c:pt idx="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EQUATE EASY FIT 5 5 BLADE RAZOR NORMAL 2CT</c:v>
                </c:pt>
                <c:pt idx="1">
                  <c:v>EQUATE CALIBER 5 BLACK 5 BLADE RAZOR NORMAL 2CT</c:v>
                </c:pt>
              </c:strCache>
            </c:strRef>
          </c:cat>
          <c:val>
            <c:numRef>
              <c:f>Sheet1!$D$2:$D$3</c:f>
              <c:numCache>
                <c:formatCode>General</c:formatCode>
                <c:ptCount val="2"/>
                <c:pt idx="0">
                  <c:v>2192.542857142857</c:v>
                </c:pt>
                <c:pt idx="1">
                  <c:v>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EQUATE EASY FIT 5 5 BLADE RAZOR NORMAL 2CT</c:v>
                </c:pt>
                <c:pt idx="1">
                  <c:v>EQUATE CALIBER 5 BLACK 5 BLADE RAZOR NORMAL 2CT</c:v>
                </c:pt>
                <c:pt idx="2">
                  <c:v>EQUATE CALIBER 3 3 BLADE RAZOR SENSITIVE 20CT</c:v>
                </c:pt>
                <c:pt idx="3">
                  <c:v>EQUATE EASY FIT 3 3 BLADE RAZOR NORMAL 2CT</c:v>
                </c:pt>
                <c:pt idx="4">
                  <c:v>EQUATE CALIBER 5 5 BLADE RAZOR NORMAL 1CT</c:v>
                </c:pt>
                <c:pt idx="5">
                  <c:v>EQUATE CALIBER 5 5 BLADE RAZOR NORMAL 2CT</c:v>
                </c:pt>
              </c:strCache>
            </c:strRef>
          </c:cat>
          <c:val>
            <c:numRef>
              <c:f>Sheet1!$B$2:$B$7</c:f>
              <c:numCache>
                <c:formatCode>General</c:formatCode>
                <c:ptCount val="6"/>
                <c:pt idx="0">
                  <c:v>0.77</c:v>
                </c:pt>
                <c:pt idx="1">
                  <c:v>0.01</c:v>
                </c:pt>
                <c:pt idx="2">
                  <c:v>0.01</c:v>
                </c:pt>
                <c:pt idx="3">
                  <c:v>0.01</c:v>
                </c:pt>
                <c:pt idx="4">
                  <c:v>0.01</c:v>
                </c:pt>
                <c:pt idx="5">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EQUATE EASY FIT 5 5 BLADE RAZOR NORMAL 2CT</c:v>
                </c:pt>
                <c:pt idx="1">
                  <c:v>EQUATE CALIBER 5 BLACK 5 BLADE RAZOR NORMAL 2CT</c:v>
                </c:pt>
                <c:pt idx="2">
                  <c:v>EQUATE CALIBER 3 3 BLADE RAZOR SENSITIVE 20CT</c:v>
                </c:pt>
                <c:pt idx="3">
                  <c:v>EQUATE EASY FIT 3 3 BLADE RAZOR NORMAL 2CT</c:v>
                </c:pt>
                <c:pt idx="4">
                  <c:v>EQUATE CALIBER 5 5 BLADE RAZOR NORMAL 1CT</c:v>
                </c:pt>
                <c:pt idx="5">
                  <c:v>EQUATE CALIBER 5 5 BLADE RAZOR NORMAL 2CT</c:v>
                </c:pt>
              </c:strCache>
            </c:strRef>
          </c:cat>
          <c:val>
            <c:numRef>
              <c:f>Sheet1!$C$2:$C$7</c:f>
              <c:numCache>
                <c:formatCode>General</c:formatCode>
                <c:ptCount val="6"/>
                <c:pt idx="0">
                  <c:v>0.99993890216476955</c:v>
                </c:pt>
                <c:pt idx="1">
                  <c:v>0.99997604964858966</c:v>
                </c:pt>
                <c:pt idx="2">
                  <c:v>0.99998680286759023</c:v>
                </c:pt>
                <c:pt idx="3">
                  <c:v>0.99999364582513606</c:v>
                </c:pt>
                <c:pt idx="4">
                  <c:v>0.99999706730390892</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EQUATE EASY FIT 5 5 BLADE RAZOR NORMAL 2CT</c:v>
                </c:pt>
                <c:pt idx="1">
                  <c:v>EQUATE CALIBER 5 BLACK 5 BLADE RAZOR NORMAL 2CT</c:v>
                </c:pt>
                <c:pt idx="2">
                  <c:v>EQUATE CALIBER 3 3 BLADE RAZOR SENSITIVE 20CT</c:v>
                </c:pt>
                <c:pt idx="3">
                  <c:v>EQUATE EASY FIT 3 3 BLADE RAZOR NORMAL 2CT</c:v>
                </c:pt>
                <c:pt idx="4">
                  <c:v>EQUATE CALIBER 5 5 BLADE RAZOR NORMAL 1CT</c:v>
                </c:pt>
                <c:pt idx="5">
                  <c:v>EQUATE CALIBER 5 5 BLADE RAZOR NORMAL 2CT</c:v>
                </c:pt>
              </c:strCache>
            </c:strRef>
          </c:cat>
          <c:val>
            <c:numRef>
              <c:f>Sheet1!$D$2:$D$7</c:f>
              <c:numCache>
                <c:formatCode>General</c:formatCode>
                <c:ptCount val="6"/>
                <c:pt idx="0">
                  <c:v>26568.493506493505</c:v>
                </c:pt>
                <c:pt idx="1">
                  <c:v>76</c:v>
                </c:pt>
                <c:pt idx="2">
                  <c:v>22</c:v>
                </c:pt>
                <c:pt idx="3">
                  <c:v>14</c:v>
                </c:pt>
                <c:pt idx="4">
                  <c:v>7</c:v>
                </c:pt>
                <c:pt idx="5">
                  <c:v>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2B01526-5D8B-4672-993E-ED35AB510BF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E87E113-6BAF-4E3E-8F24-E061D1077A1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4463AA5-A823-4E42-BC4C-EE971EC9DEF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8C0E375-2D5A-4E89-9A62-C82A30FCF35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EEBCC89-3990-4D5F-97BA-ED28A57DB79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C2A05C1-EA45-4027-86B6-5B48E4290F3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801ABC1-450F-4CE5-B352-91FB3C34A63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68310000000000004</c:v>
                </c:pt>
                <c:pt idx="1">
                  <c:v>0.2606</c:v>
                </c:pt>
                <c:pt idx="2">
                  <c:v>0.223</c:v>
                </c:pt>
                <c:pt idx="3">
                  <c:v>0.34610000000000002</c:v>
                </c:pt>
                <c:pt idx="4">
                  <c:v>0.2203</c:v>
                </c:pt>
                <c:pt idx="5">
                  <c:v>0.37019999999999997</c:v>
                </c:pt>
                <c:pt idx="6">
                  <c:v>0.36749999999999999</c:v>
                </c:pt>
                <c:pt idx="7">
                  <c:v>0.31940000000000002</c:v>
                </c:pt>
                <c:pt idx="8">
                  <c:v>0.28089999999999998</c:v>
                </c:pt>
                <c:pt idx="9">
                  <c:v>0.29509999999999997</c:v>
                </c:pt>
                <c:pt idx="10">
                  <c:v>-1.6975</c:v>
                </c:pt>
                <c:pt idx="11">
                  <c:v>0.36099999999999999</c:v>
                </c:pt>
                <c:pt idx="12">
                  <c:v>0.35170000000000001</c:v>
                </c:pt>
                <c:pt idx="13">
                  <c:v>-0.67210000000000003</c:v>
                </c:pt>
                <c:pt idx="14">
                  <c:v>0.32100000000000001</c:v>
                </c:pt>
                <c:pt idx="15">
                  <c:v>0.34960000000000002</c:v>
                </c:pt>
                <c:pt idx="16">
                  <c:v>0.39179999999999998</c:v>
                </c:pt>
              </c:numCache>
            </c:numRef>
          </c:xVal>
          <c:yVal>
            <c:numRef>
              <c:f>Sheet1!$B$2:$B$18</c:f>
              <c:numCache>
                <c:formatCode>General</c:formatCode>
                <c:ptCount val="17"/>
                <c:pt idx="0">
                  <c:v>1754</c:v>
                </c:pt>
                <c:pt idx="1">
                  <c:v>14944.044795783921</c:v>
                </c:pt>
                <c:pt idx="2">
                  <c:v>17159.559193954661</c:v>
                </c:pt>
                <c:pt idx="3">
                  <c:v>7261.4353312302837</c:v>
                </c:pt>
                <c:pt idx="4">
                  <c:v>75823.496659242766</c:v>
                </c:pt>
                <c:pt idx="5">
                  <c:v>42642.536842105263</c:v>
                </c:pt>
                <c:pt idx="6">
                  <c:v>21416.964285714279</c:v>
                </c:pt>
                <c:pt idx="7">
                  <c:v>6803.5545023696686</c:v>
                </c:pt>
                <c:pt idx="8">
                  <c:v>21518.936170212761</c:v>
                </c:pt>
                <c:pt idx="9">
                  <c:v>51342.777129521593</c:v>
                </c:pt>
                <c:pt idx="10">
                  <c:v>897.77777777777783</c:v>
                </c:pt>
                <c:pt idx="11">
                  <c:v>42879.101283880183</c:v>
                </c:pt>
                <c:pt idx="12">
                  <c:v>52579.062832800853</c:v>
                </c:pt>
                <c:pt idx="13">
                  <c:v>5644</c:v>
                </c:pt>
                <c:pt idx="14">
                  <c:v>68443.006369426745</c:v>
                </c:pt>
                <c:pt idx="15">
                  <c:v>6009.7767857142853</c:v>
                </c:pt>
                <c:pt idx="16">
                  <c:v>48994.894366197179</c:v>
                </c:pt>
              </c:numCache>
            </c:numRef>
          </c:yVal>
          <c:bubbleSize>
            <c:numRef>
              <c:f>Sheet1!$C$2:$C$18</c:f>
              <c:numCache>
                <c:formatCode>General</c:formatCode>
                <c:ptCount val="17"/>
                <c:pt idx="0">
                  <c:v>2502.7807999999991</c:v>
                </c:pt>
                <c:pt idx="1">
                  <c:v>838701.68579999998</c:v>
                </c:pt>
                <c:pt idx="2">
                  <c:v>1058631.9765999999</c:v>
                </c:pt>
                <c:pt idx="3">
                  <c:v>301018.2378</c:v>
                </c:pt>
                <c:pt idx="4">
                  <c:v>2654418.0469</c:v>
                </c:pt>
                <c:pt idx="5">
                  <c:v>2551270.2801999999</c:v>
                </c:pt>
                <c:pt idx="6">
                  <c:v>75862.375199999995</c:v>
                </c:pt>
                <c:pt idx="7">
                  <c:v>390839.13900000002</c:v>
                </c:pt>
                <c:pt idx="8">
                  <c:v>72733.447800000009</c:v>
                </c:pt>
                <c:pt idx="9">
                  <c:v>3101731.2096000002</c:v>
                </c:pt>
                <c:pt idx="10">
                  <c:v>1764.1728000000001</c:v>
                </c:pt>
                <c:pt idx="11">
                  <c:v>1920827.2086</c:v>
                </c:pt>
                <c:pt idx="12">
                  <c:v>3200726.89</c:v>
                </c:pt>
                <c:pt idx="13">
                  <c:v>8139.9551999999994</c:v>
                </c:pt>
                <c:pt idx="14">
                  <c:v>3648181.7445999999</c:v>
                </c:pt>
                <c:pt idx="15">
                  <c:v>350237.70730000013</c:v>
                </c:pt>
                <c:pt idx="16">
                  <c:v>2538781.9904</c:v>
                </c:pt>
              </c:numCache>
            </c:numRef>
          </c:bubbleSize>
          <c:bubble3D val="0"/>
          <c:extLst>
            <c:ext xmlns:c15="http://schemas.microsoft.com/office/drawing/2012/chart" uri="{02D57815-91ED-43cb-92C2-25804820EDAC}">
              <c15:datalabelsRange>
                <c15:f>Sheet1!$E$2:$E$50</c15:f>
                <c15:dlblRangeCache>
                  <c:ptCount val="49"/>
                  <c:pt idx="0">
                    <c:v>HYDRO 5 SENSITIVE 5 BLADE RAZOR SENSITIVE 2CT</c:v>
                  </c:pt>
                  <c:pt idx="1">
                    <c:v>SCHICK XTREME 3 SENSITIVE GREEN HOLIDAY GIFT PACK 3 BLADE DISPOSABLE SENSITIVE 8CT</c:v>
                  </c:pt>
                  <c:pt idx="2">
                    <c:v>HYDRO 5 SENSITIVE GRAY HOLIDAY GIFT PACK 5 BLADE RAZOR SENSITIVE 3CT</c:v>
                  </c:pt>
                  <c:pt idx="3">
                    <c:v>SCHICK XTREME 3 SENSITIVE GREEN BLACK 3 BLADE DISPOSABLE SENSITIVE 12CT</c:v>
                  </c:pt>
                  <c:pt idx="4">
                    <c:v>HYDRO 5 SENSITIVE 5 BLADE REFILL SENSITIVE 12CT</c:v>
                  </c:pt>
                  <c:pt idx="5">
                    <c:v>SCHICK XTREME 3 SENSITIVE BLACK 3 BLADE DISPOSABLE SENSITIVE 4CT</c:v>
                  </c:pt>
                  <c:pt idx="6">
                    <c:v>SCHICK HYDRO 3 SENSITIVE 3 BLADE RAZOR SENSITIVE 4CT</c:v>
                  </c:pt>
                  <c:pt idx="7">
                    <c:v>SCHICK XTREME 3 SENSITIVE GREEN BLACK 3 BLADE DISPOSABLE SENSITIVE 8CT</c:v>
                  </c:pt>
                  <c:pt idx="8">
                    <c:v>SCHICK HYDRO 3 SENSITIVE 3 BLADE REFILL SENSITIVE 5CT</c:v>
                  </c:pt>
                  <c:pt idx="9">
                    <c:v>SCHICK XTREME 3 SENSITIVE GREEN 3 BLADE DISPOSABLE SENSITIVE 8CT</c:v>
                  </c:pt>
                  <c:pt idx="10">
                    <c:v>HYDRO 5 DRY SKIN 5 BLADE REFILL NORMAL 4CT</c:v>
                  </c:pt>
                  <c:pt idx="11">
                    <c:v>SCHICK XTREME 3 SENSITIVE BLACK GREEN 3 BLADE DISPOSABLE SENSITIVE 12CT</c:v>
                  </c:pt>
                  <c:pt idx="12">
                    <c:v>SCHICK XTREME 2 SENSITIVE 2 BLADE DISPOSABLE NORMAL 12CT</c:v>
                  </c:pt>
                  <c:pt idx="13">
                    <c:v>HYDRO 5 SENSITIVE 5 BLADE REFILL SENSITIVE 4CT</c:v>
                  </c:pt>
                  <c:pt idx="14">
                    <c:v>HYDRO 5 SENSITIVE 5 BLADE REFILL SENSITIVE 6CT</c:v>
                  </c:pt>
                  <c:pt idx="15">
                    <c:v>SCHICK XTREME 3 SENSITIVE GREEN BLACK 3 BLADE DISPOSABLE SENSITIVE 4CT</c:v>
                  </c:pt>
                  <c:pt idx="16">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F895438-0CDD-44AF-9478-893B9B44B9B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6266E2F-00F6-4520-8F35-F4B7FEDA3B8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176C09DA-87E2-4146-9F75-F87D2692605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7678B29-C1AA-44ED-A182-53234223B63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0BABD1F-96AA-4CAB-BB24-FCC9B8CF70E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7433A55-5735-45AE-9ED1-18650884FB4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2FDFD72-05F6-4030-A61F-62602E00914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4560000000000002</c:v>
                </c:pt>
                <c:pt idx="1">
                  <c:v>0.36680000000000001</c:v>
                </c:pt>
              </c:numCache>
            </c:numRef>
          </c:xVal>
          <c:yVal>
            <c:numRef>
              <c:f>Sheet1!$B$2:$B$3</c:f>
              <c:numCache>
                <c:formatCode>General</c:formatCode>
                <c:ptCount val="2"/>
                <c:pt idx="0">
                  <c:v>6750.3125</c:v>
                </c:pt>
                <c:pt idx="1">
                  <c:v>7625.1282051282042</c:v>
                </c:pt>
              </c:numCache>
            </c:numRef>
          </c:yVal>
          <c:bubbleSize>
            <c:numRef>
              <c:f>Sheet1!$C$2:$C$3</c:f>
              <c:numCache>
                <c:formatCode>General</c:formatCode>
                <c:ptCount val="2"/>
                <c:pt idx="0">
                  <c:v>28272.369699999999</c:v>
                </c:pt>
                <c:pt idx="1">
                  <c:v>56493.237800000003</c:v>
                </c:pt>
              </c:numCache>
            </c:numRef>
          </c:bubbleSize>
          <c:bubble3D val="0"/>
          <c:extLst>
            <c:ext xmlns:c15="http://schemas.microsoft.com/office/drawing/2012/chart" uri="{02D57815-91ED-43cb-92C2-25804820EDAC}">
              <c15:datalabelsRange>
                <c15:f>Sheet1!$E$2:$E$50</c15:f>
                <c15:dlblRangeCache>
                  <c:ptCount val="49"/>
                  <c:pt idx="0">
                    <c:v>CREMO 5 BLADE REFILL NORMAL 4CT</c:v>
                  </c:pt>
                  <c:pt idx="1">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4120E34-DD85-4C02-934E-8C61B71E723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7C87C5C-7590-40B6-B91E-63564E4E13E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830DBE7-B173-494F-98EB-662CD0C8F8F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EF9A93C-8A88-4E7E-A634-B99CF91954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B221255-7B4B-448C-BC1E-5EC9A389C15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413F62D-0DBD-4477-AFBF-1B0D740EB2F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314711B-6BC7-47F8-AF19-C382E6AB2C3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884</c:v>
                </c:pt>
                <c:pt idx="1">
                  <c:v>0.48370000000000002</c:v>
                </c:pt>
                <c:pt idx="2">
                  <c:v>-0.40510000000000002</c:v>
                </c:pt>
                <c:pt idx="3">
                  <c:v>0.44729999999999998</c:v>
                </c:pt>
                <c:pt idx="4">
                  <c:v>0.3987</c:v>
                </c:pt>
                <c:pt idx="5">
                  <c:v>0.44769999999999999</c:v>
                </c:pt>
                <c:pt idx="6">
                  <c:v>0.4032</c:v>
                </c:pt>
                <c:pt idx="7">
                  <c:v>0.5474</c:v>
                </c:pt>
                <c:pt idx="8">
                  <c:v>0.29899999999999999</c:v>
                </c:pt>
                <c:pt idx="9">
                  <c:v>0.40289999999999998</c:v>
                </c:pt>
                <c:pt idx="10">
                  <c:v>0.43</c:v>
                </c:pt>
              </c:numCache>
            </c:numRef>
          </c:xVal>
          <c:yVal>
            <c:numRef>
              <c:f>Sheet1!$B$2:$B$12</c:f>
              <c:numCache>
                <c:formatCode>General</c:formatCode>
                <c:ptCount val="11"/>
                <c:pt idx="0">
                  <c:v>31615.11318242344</c:v>
                </c:pt>
                <c:pt idx="1">
                  <c:v>88856.375634517768</c:v>
                </c:pt>
                <c:pt idx="2">
                  <c:v>779</c:v>
                </c:pt>
                <c:pt idx="3">
                  <c:v>34693.635394456287</c:v>
                </c:pt>
                <c:pt idx="4">
                  <c:v>10233.43976777939</c:v>
                </c:pt>
                <c:pt idx="5">
                  <c:v>39700.241492864981</c:v>
                </c:pt>
                <c:pt idx="6">
                  <c:v>38983.218623481793</c:v>
                </c:pt>
                <c:pt idx="7">
                  <c:v>37190.417101147032</c:v>
                </c:pt>
                <c:pt idx="8">
                  <c:v>17923.486707566459</c:v>
                </c:pt>
                <c:pt idx="9">
                  <c:v>38536.181506849323</c:v>
                </c:pt>
                <c:pt idx="10">
                  <c:v>54222.520710059172</c:v>
                </c:pt>
              </c:numCache>
            </c:numRef>
          </c:yVal>
          <c:bubbleSize>
            <c:numRef>
              <c:f>Sheet1!$C$2:$C$12</c:f>
              <c:numCache>
                <c:formatCode>General</c:formatCode>
                <c:ptCount val="11"/>
                <c:pt idx="0">
                  <c:v>1214691.3791</c:v>
                </c:pt>
                <c:pt idx="1">
                  <c:v>4518773.5040000007</c:v>
                </c:pt>
                <c:pt idx="2">
                  <c:v>1094.5673999999999</c:v>
                </c:pt>
                <c:pt idx="3">
                  <c:v>1798622.3696000001</c:v>
                </c:pt>
                <c:pt idx="4">
                  <c:v>423999.08850000001</c:v>
                </c:pt>
                <c:pt idx="5">
                  <c:v>1997336.7135999999</c:v>
                </c:pt>
                <c:pt idx="6">
                  <c:v>2298580.1270000008</c:v>
                </c:pt>
                <c:pt idx="7">
                  <c:v>1614221.3448999999</c:v>
                </c:pt>
                <c:pt idx="8">
                  <c:v>1228819.4014000001</c:v>
                </c:pt>
                <c:pt idx="9">
                  <c:v>1343734.6551000001</c:v>
                </c:pt>
                <c:pt idx="10">
                  <c:v>2611438.9335999992</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pt idx="1">
                    <c:v>EQUATE CALIBER 5 5 BLADE DISPOSABLE NORMAL 3CT</c:v>
                  </c:pt>
                  <c:pt idx="2">
                    <c:v>EQUATE CALIBER 5 5 BLADE REFILL NORMAL 4CT</c:v>
                  </c:pt>
                  <c:pt idx="3">
                    <c:v>EQUATE CALIBER 3 3 BLADE DISPOSABLE NORMAL 3CT</c:v>
                  </c:pt>
                  <c:pt idx="4">
                    <c:v>EQUATE EASY FIT 5 5 BLADE REFILL NORMAL 12CT</c:v>
                  </c:pt>
                  <c:pt idx="5">
                    <c:v>EQUATE SPEED 3 SENSITIVE GREEN 3 BLADE DISPOSABLE SENSITIVE 8CT</c:v>
                  </c:pt>
                  <c:pt idx="6">
                    <c:v>EQUATE TB (TWIN BLADE) BLUE 2 BLADE DISPOSABLE NORMAL 12CT</c:v>
                  </c:pt>
                  <c:pt idx="7">
                    <c:v>EQUATE SPEED 3 SENSITIVE GREEN 3 BLADE DISPOSABLE SENSITIVE 4CT</c:v>
                  </c:pt>
                  <c:pt idx="8">
                    <c:v>EQUATE TB (TWIN BLADE) BLUE 2 BLADE DISPOSABLE NORMAL 5CT</c:v>
                  </c:pt>
                  <c:pt idx="9">
                    <c:v>EQUATE EASY FIT 5 5 BLADE REFILL NORMAL 8CT</c:v>
                  </c:pt>
                  <c:pt idx="10">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9F56C0D-4905-471E-A7CB-D0475B263A4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F648AF-7406-49EB-999C-7F422CC7690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3AF4D42-A718-40B7-B4A4-99EEDC1950B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23904F5-4255-4674-A106-910F41841D0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F26A5EA-B3C5-48A6-A2CC-F0F576D8DE5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BFBDA79-AED2-4878-9CCB-A171374CF9A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14824EB-D3E5-4205-B0E9-097B4E99618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458</c:v>
                </c:pt>
                <c:pt idx="1">
                  <c:v>-0.2485</c:v>
                </c:pt>
                <c:pt idx="2">
                  <c:v>0.3705</c:v>
                </c:pt>
                <c:pt idx="3">
                  <c:v>0.32150000000000001</c:v>
                </c:pt>
                <c:pt idx="4">
                  <c:v>0.29580000000000001</c:v>
                </c:pt>
                <c:pt idx="5">
                  <c:v>0.35849999999999999</c:v>
                </c:pt>
                <c:pt idx="6">
                  <c:v>0.35320000000000001</c:v>
                </c:pt>
                <c:pt idx="7">
                  <c:v>-0.91049999999999998</c:v>
                </c:pt>
                <c:pt idx="8">
                  <c:v>0.32050000000000001</c:v>
                </c:pt>
                <c:pt idx="9">
                  <c:v>0.35060000000000002</c:v>
                </c:pt>
                <c:pt idx="10">
                  <c:v>0.39190000000000003</c:v>
                </c:pt>
              </c:numCache>
            </c:numRef>
          </c:xVal>
          <c:yVal>
            <c:numRef>
              <c:f>Sheet1!$B$2:$B$12</c:f>
              <c:numCache>
                <c:formatCode>General</c:formatCode>
                <c:ptCount val="11"/>
                <c:pt idx="0">
                  <c:v>743.54166666666663</c:v>
                </c:pt>
                <c:pt idx="1">
                  <c:v>914</c:v>
                </c:pt>
                <c:pt idx="2">
                  <c:v>3557.6049382716051</c:v>
                </c:pt>
                <c:pt idx="3">
                  <c:v>609.59016393442619</c:v>
                </c:pt>
                <c:pt idx="4">
                  <c:v>5031.3076923076924</c:v>
                </c:pt>
                <c:pt idx="5">
                  <c:v>4859.9333333333334</c:v>
                </c:pt>
                <c:pt idx="6">
                  <c:v>4400.727272727273</c:v>
                </c:pt>
                <c:pt idx="7">
                  <c:v>839</c:v>
                </c:pt>
                <c:pt idx="8">
                  <c:v>7307.5535714285706</c:v>
                </c:pt>
                <c:pt idx="9">
                  <c:v>536.43661971830988</c:v>
                </c:pt>
                <c:pt idx="10">
                  <c:v>4743.377049180328</c:v>
                </c:pt>
              </c:numCache>
            </c:numRef>
          </c:yVal>
          <c:bubbleSize>
            <c:numRef>
              <c:f>Sheet1!$C$2:$C$12</c:f>
              <c:numCache>
                <c:formatCode>General</c:formatCode>
                <c:ptCount val="11"/>
                <c:pt idx="0">
                  <c:v>11674.0008</c:v>
                </c:pt>
                <c:pt idx="1">
                  <c:v>1141.1116</c:v>
                </c:pt>
                <c:pt idx="2">
                  <c:v>181395.77009999999</c:v>
                </c:pt>
                <c:pt idx="3">
                  <c:v>25231.624599999999</c:v>
                </c:pt>
                <c:pt idx="4">
                  <c:v>230309.52960000001</c:v>
                </c:pt>
                <c:pt idx="5">
                  <c:v>93532.54770000001</c:v>
                </c:pt>
                <c:pt idx="6">
                  <c:v>219178.04300000001</c:v>
                </c:pt>
                <c:pt idx="7">
                  <c:v>1341.184</c:v>
                </c:pt>
                <c:pt idx="8">
                  <c:v>278077.10879999999</c:v>
                </c:pt>
                <c:pt idx="9">
                  <c:v>24732.3076</c:v>
                </c:pt>
                <c:pt idx="10">
                  <c:v>175947.76449999999</c:v>
                </c:pt>
              </c:numCache>
            </c:numRef>
          </c:bubbleSize>
          <c:bubble3D val="0"/>
          <c:extLst>
            <c:ext xmlns:c15="http://schemas.microsoft.com/office/drawing/2012/chart" uri="{02D57815-91ED-43cb-92C2-25804820EDAC}">
              <c15:datalabelsRange>
                <c15:f>Sheet1!$E$2:$E$50</c15:f>
                <c15:dlblRangeCache>
                  <c:ptCount val="49"/>
                  <c:pt idx="0">
                    <c:v>SCHICK XTREME 3 SENSITIVE GREEN BLACK 3 BLADE DISPOSABLE SENSITIVE 12CT</c:v>
                  </c:pt>
                  <c:pt idx="1">
                    <c:v>HYDRO 5 SENSITIVE 5 BLADE REFILL SENSITIVE 12CT</c:v>
                  </c:pt>
                  <c:pt idx="2">
                    <c:v>SCHICK XTREME 3 SENSITIVE BLACK 3 BLADE DISPOSABLE SENSITIVE 4CT</c:v>
                  </c:pt>
                  <c:pt idx="3">
                    <c:v>SCHICK XTREME 3 SENSITIVE GREEN BLACK 3 BLADE DISPOSABLE SENSITIVE 8CT</c:v>
                  </c:pt>
                  <c:pt idx="4">
                    <c:v>SCHICK XTREME 3 SENSITIVE GREEN 3 BLADE DISPOSABLE SENSITIVE 8CT</c:v>
                  </c:pt>
                  <c:pt idx="5">
                    <c:v>SCHICK XTREME 3 SENSITIVE BLACK GREEN 3 BLADE DISPOSABLE SENSITIVE 12CT</c:v>
                  </c:pt>
                  <c:pt idx="6">
                    <c:v>SCHICK XTREME 2 SENSITIVE 2 BLADE DISPOSABLE NORMAL 12CT</c:v>
                  </c:pt>
                  <c:pt idx="7">
                    <c:v>HYDRO 5 SENSITIVE 5 BLADE REFILL SENSITIVE 4CT</c:v>
                  </c:pt>
                  <c:pt idx="8">
                    <c:v>HYDRO 5 SENSITIVE 5 BLADE REFILL SENSITIVE 6CT</c:v>
                  </c:pt>
                  <c:pt idx="9">
                    <c:v>SCHICK XTREME 3 SENSITIVE GREEN BLACK 3 BLADE DISPOSABLE SENSITIVE 4CT</c:v>
                  </c:pt>
                  <c:pt idx="10">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F45ED8-E45D-4776-A5BF-8649D16C8AC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B5438BA-EDD7-467C-8345-BCC003A0F45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B5C1B78-5128-492D-BCB3-8456A50F7E9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9E0A5BB-5678-41D2-991D-85824D7AF76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39247F3-AD79-4C6F-8A3E-D101CC8D373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F9D38E3-CD16-448D-860D-F9A244D27A6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5FB4C29-C715-47AB-8D5B-D93AFE234F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880000000000001</c:v>
                </c:pt>
                <c:pt idx="1">
                  <c:v>0.4844</c:v>
                </c:pt>
                <c:pt idx="2">
                  <c:v>0.44800000000000001</c:v>
                </c:pt>
                <c:pt idx="3">
                  <c:v>0.39889999999999998</c:v>
                </c:pt>
                <c:pt idx="4">
                  <c:v>0.44729999999999998</c:v>
                </c:pt>
                <c:pt idx="5">
                  <c:v>0.4032</c:v>
                </c:pt>
                <c:pt idx="6">
                  <c:v>0.54790000000000005</c:v>
                </c:pt>
                <c:pt idx="7">
                  <c:v>0.30309999999999998</c:v>
                </c:pt>
                <c:pt idx="8">
                  <c:v>0.35830000000000001</c:v>
                </c:pt>
                <c:pt idx="9">
                  <c:v>0.43030000000000002</c:v>
                </c:pt>
              </c:numCache>
            </c:numRef>
          </c:xVal>
          <c:yVal>
            <c:numRef>
              <c:f>Sheet1!$B$2:$B$11</c:f>
              <c:numCache>
                <c:formatCode>General</c:formatCode>
                <c:ptCount val="10"/>
                <c:pt idx="0">
                  <c:v>3302.6981132075471</c:v>
                </c:pt>
                <c:pt idx="1">
                  <c:v>5807.0109890109889</c:v>
                </c:pt>
                <c:pt idx="2">
                  <c:v>2923.9189189189192</c:v>
                </c:pt>
                <c:pt idx="3">
                  <c:v>1148.3170731707321</c:v>
                </c:pt>
                <c:pt idx="4">
                  <c:v>3479.353846153846</c:v>
                </c:pt>
                <c:pt idx="5">
                  <c:v>3081.3052631578948</c:v>
                </c:pt>
                <c:pt idx="6">
                  <c:v>2862.6341463414628</c:v>
                </c:pt>
                <c:pt idx="7">
                  <c:v>1727.1789473684209</c:v>
                </c:pt>
                <c:pt idx="8">
                  <c:v>3361.8</c:v>
                </c:pt>
                <c:pt idx="9">
                  <c:v>4936.0153846153844</c:v>
                </c:pt>
              </c:numCache>
            </c:numRef>
          </c:yVal>
          <c:bubbleSize>
            <c:numRef>
              <c:f>Sheet1!$C$2:$C$11</c:f>
              <c:numCache>
                <c:formatCode>General</c:formatCode>
                <c:ptCount val="10"/>
                <c:pt idx="0">
                  <c:v>89489.170399999974</c:v>
                </c:pt>
                <c:pt idx="1">
                  <c:v>272475.62770000001</c:v>
                </c:pt>
                <c:pt idx="2">
                  <c:v>119428.2879</c:v>
                </c:pt>
                <c:pt idx="3">
                  <c:v>28301.748800000001</c:v>
                </c:pt>
                <c:pt idx="4">
                  <c:v>125001.96189999999</c:v>
                </c:pt>
                <c:pt idx="5">
                  <c:v>174687.43780000001</c:v>
                </c:pt>
                <c:pt idx="6">
                  <c:v>106130.8149</c:v>
                </c:pt>
                <c:pt idx="7">
                  <c:v>114348.9244</c:v>
                </c:pt>
                <c:pt idx="8">
                  <c:v>86297.400299999994</c:v>
                </c:pt>
                <c:pt idx="9">
                  <c:v>182797.47649999999</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pt idx="1">
                    <c:v>EQUATE CALIBER 5 5 BLADE DISPOSABLE NORMAL 3CT</c:v>
                  </c:pt>
                  <c:pt idx="2">
                    <c:v>EQUATE CALIBER 3 3 BLADE DISPOSABLE NORMAL 3CT</c:v>
                  </c:pt>
                  <c:pt idx="3">
                    <c:v>EQUATE EASY FIT 5 5 BLADE REFILL NORMAL 12CT</c:v>
                  </c:pt>
                  <c:pt idx="4">
                    <c:v>EQUATE SPEED 3 SENSITIVE GREEN 3 BLADE DISPOSABLE SENSITIVE 8CT</c:v>
                  </c:pt>
                  <c:pt idx="5">
                    <c:v>EQUATE TB (TWIN BLADE) BLUE 2 BLADE DISPOSABLE NORMAL 12CT</c:v>
                  </c:pt>
                  <c:pt idx="6">
                    <c:v>EQUATE SPEED 3 SENSITIVE GREEN 3 BLADE DISPOSABLE SENSITIVE 4CT</c:v>
                  </c:pt>
                  <c:pt idx="7">
                    <c:v>EQUATE TB (TWIN BLADE) BLUE 2 BLADE DISPOSABLE NORMAL 5CT</c:v>
                  </c:pt>
                  <c:pt idx="8">
                    <c:v>EQUATE EASY FIT 5 5 BLADE REFILL NORMAL 8CT</c:v>
                  </c:pt>
                  <c:pt idx="9">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3591446079632776</c:v>
                </c:pt>
                <c:pt idx="1">
                  <c:v>0.18718514906711023</c:v>
                </c:pt>
                <c:pt idx="2">
                  <c:v>0.15428671126987742</c:v>
                </c:pt>
                <c:pt idx="3">
                  <c:v>0.11923581654717222</c:v>
                </c:pt>
                <c:pt idx="4">
                  <c:v>3.37786231951242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3932027377861701</c:v>
                </c:pt>
                <c:pt idx="1">
                  <c:v>0.272598536700496</c:v>
                </c:pt>
                <c:pt idx="2">
                  <c:v>0.13854142081661572</c:v>
                </c:pt>
                <c:pt idx="3">
                  <c:v>0.16544725041302832</c:v>
                </c:pt>
                <c:pt idx="4">
                  <c:v>3.02100542836913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73.37042878109709</c:v>
                </c:pt>
                <c:pt idx="1">
                  <c:v>145.63042958219035</c:v>
                </c:pt>
                <c:pt idx="2">
                  <c:v>89.794785096092866</c:v>
                </c:pt>
                <c:pt idx="3">
                  <c:v>138.75633614466327</c:v>
                </c:pt>
                <c:pt idx="4">
                  <c:v>894.354222467302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8D0C3F6-E60D-4FC0-9399-EF0C77456A2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6314DDB-DE21-4D2A-9E64-8E7DF1FBB12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92FBE9-70A9-4275-8F28-212AF7A07FA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78AF5B4-84FF-40A7-9C04-66AD90EA211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A09D59E-EC2B-4D79-BE4B-11627788F8C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4487D60-FF5C-4BAD-9827-62D9FFB915D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80940C6-7E0F-4D03-8DD0-C0B07AD421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5</c:f>
              <c:numCache>
                <c:formatCode>General</c:formatCode>
                <c:ptCount val="14"/>
                <c:pt idx="0">
                  <c:v>0.30980000000000002</c:v>
                </c:pt>
                <c:pt idx="1">
                  <c:v>0.29170000000000001</c:v>
                </c:pt>
                <c:pt idx="2">
                  <c:v>0.35389999999999999</c:v>
                </c:pt>
                <c:pt idx="3">
                  <c:v>0.21940000000000001</c:v>
                </c:pt>
                <c:pt idx="4">
                  <c:v>0.37519999999999998</c:v>
                </c:pt>
                <c:pt idx="5">
                  <c:v>0.35849999999999999</c:v>
                </c:pt>
                <c:pt idx="6">
                  <c:v>0.32700000000000001</c:v>
                </c:pt>
                <c:pt idx="7">
                  <c:v>0.20269999999999999</c:v>
                </c:pt>
                <c:pt idx="8">
                  <c:v>0.30099999999999999</c:v>
                </c:pt>
                <c:pt idx="9">
                  <c:v>0.36799999999999999</c:v>
                </c:pt>
                <c:pt idx="10">
                  <c:v>0.3579</c:v>
                </c:pt>
                <c:pt idx="11">
                  <c:v>0.32069999999999999</c:v>
                </c:pt>
                <c:pt idx="12">
                  <c:v>0.35680000000000001</c:v>
                </c:pt>
                <c:pt idx="13">
                  <c:v>0.39179999999999998</c:v>
                </c:pt>
              </c:numCache>
            </c:numRef>
          </c:xVal>
          <c:yVal>
            <c:numRef>
              <c:f>Sheet1!$B$2:$B$15</c:f>
              <c:numCache>
                <c:formatCode>General</c:formatCode>
                <c:ptCount val="14"/>
                <c:pt idx="0">
                  <c:v>874</c:v>
                </c:pt>
                <c:pt idx="1">
                  <c:v>1094.75</c:v>
                </c:pt>
                <c:pt idx="2">
                  <c:v>574.65625</c:v>
                </c:pt>
                <c:pt idx="3">
                  <c:v>5275.4193548387093</c:v>
                </c:pt>
                <c:pt idx="4">
                  <c:v>3032.8736842105259</c:v>
                </c:pt>
                <c:pt idx="5">
                  <c:v>999.2</c:v>
                </c:pt>
                <c:pt idx="6">
                  <c:v>506.07142857142861</c:v>
                </c:pt>
                <c:pt idx="7">
                  <c:v>1055.75</c:v>
                </c:pt>
                <c:pt idx="8">
                  <c:v>3945.977011494253</c:v>
                </c:pt>
                <c:pt idx="9">
                  <c:v>3373.205882352941</c:v>
                </c:pt>
                <c:pt idx="10">
                  <c:v>4372</c:v>
                </c:pt>
                <c:pt idx="11">
                  <c:v>4560.0253164556962</c:v>
                </c:pt>
                <c:pt idx="12">
                  <c:v>413.27272727272731</c:v>
                </c:pt>
                <c:pt idx="13">
                  <c:v>3435.0481927710839</c:v>
                </c:pt>
              </c:numCache>
            </c:numRef>
          </c:yVal>
          <c:bubbleSize>
            <c:numRef>
              <c:f>Sheet1!$C$2:$C$15</c:f>
              <c:numCache>
                <c:formatCode>General</c:formatCode>
                <c:ptCount val="14"/>
                <c:pt idx="0">
                  <c:v>2412.9196000000002</c:v>
                </c:pt>
                <c:pt idx="1">
                  <c:v>3101.6833000000001</c:v>
                </c:pt>
                <c:pt idx="2">
                  <c:v>23760.718799999999</c:v>
                </c:pt>
                <c:pt idx="3">
                  <c:v>127660.91680000001</c:v>
                </c:pt>
                <c:pt idx="4">
                  <c:v>180016.2997</c:v>
                </c:pt>
                <c:pt idx="5">
                  <c:v>3205.0187999999998</c:v>
                </c:pt>
                <c:pt idx="6">
                  <c:v>28611.328399999999</c:v>
                </c:pt>
                <c:pt idx="7">
                  <c:v>3367.1781000000001</c:v>
                </c:pt>
                <c:pt idx="8">
                  <c:v>239980.5024</c:v>
                </c:pt>
                <c:pt idx="9">
                  <c:v>144963.85519999999</c:v>
                </c:pt>
                <c:pt idx="10">
                  <c:v>263862.60160000011</c:v>
                </c:pt>
                <c:pt idx="11">
                  <c:v>244698.5876</c:v>
                </c:pt>
                <c:pt idx="12">
                  <c:v>23392.570500000002</c:v>
                </c:pt>
                <c:pt idx="13">
                  <c:v>173389.4657</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HYDRO 5 SENSITIVE GRAY HOLIDAY GIFT PACK 5 BLADE RAZOR SENSITIVE 3CT</c:v>
                  </c:pt>
                  <c:pt idx="2">
                    <c:v>SCHICK XTREME 3 SENSITIVE GREEN BLACK 3 BLADE DISPOSABLE SENSITIVE 12CT</c:v>
                  </c:pt>
                  <c:pt idx="3">
                    <c:v>HYDRO 5 SENSITIVE 5 BLADE REFILL SENSITIVE 12CT</c:v>
                  </c:pt>
                  <c:pt idx="4">
                    <c:v>SCHICK XTREME 3 SENSITIVE BLACK 3 BLADE DISPOSABLE SENSITIVE 4CT</c:v>
                  </c:pt>
                  <c:pt idx="5">
                    <c:v>SCHICK HYDRO 3 SENSITIVE 3 BLADE RAZOR SENSITIVE 4CT</c:v>
                  </c:pt>
                  <c:pt idx="6">
                    <c:v>SCHICK XTREME 3 SENSITIVE GREEN BLACK 3 BLADE DISPOSABLE SENSITIVE 8CT</c:v>
                  </c:pt>
                  <c:pt idx="7">
                    <c:v>SCHICK HYDRO 3 SENSITIVE 3 BLADE REFILL SENSITIVE 5CT</c:v>
                  </c:pt>
                  <c:pt idx="8">
                    <c:v>SCHICK XTREME 3 SENSITIVE GREEN 3 BLADE DISPOSABLE SENSITIVE 8CT</c:v>
                  </c:pt>
                  <c:pt idx="9">
                    <c:v>SCHICK XTREME 3 SENSITIVE BLACK GREEN 3 BLADE DISPOSABLE SENSITIVE 12CT</c:v>
                  </c:pt>
                  <c:pt idx="10">
                    <c:v>SCHICK XTREME 2 SENSITIVE 2 BLADE DISPOSABLE NORMAL 12CT</c:v>
                  </c:pt>
                  <c:pt idx="11">
                    <c:v>HYDRO 5 SENSITIVE 5 BLADE REFILL SENSITIVE 6CT</c:v>
                  </c:pt>
                  <c:pt idx="12">
                    <c:v>SCHICK XTREME 3 SENSITIVE GREEN BLACK 3 BLADE DISPOSABLE SENSITIVE 4CT</c:v>
                  </c:pt>
                  <c:pt idx="13">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6CFDE73-0509-4706-BE1A-91EB535BF4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9797AAD3-CDAE-4134-BF69-795A6BF9136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2D70022-4665-43CF-AAB1-E8C55A91D99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64BB182-9CC0-444A-9751-D56DE7F2031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738FC4A-17B2-4EB4-A171-6E8CE9F96F8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83DC6C4-B9A1-4A1E-A417-2588D3CDBBE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7D59177-A907-458D-AC55-7BA1FAC7C5F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09999999999999</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66D28E0-91B9-4D69-90C2-8D1DD7D8556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47D5046-7D4A-496F-AF21-4059D68C671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1025894-9EDE-4B9E-9F67-F036ACE143C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DCEBBE5-74F6-47F3-9C75-6F0C1D7B64A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1458792-C6C5-4994-91F7-CEBF23A13C4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AF8E96A-7924-4A91-9345-6C1E599B535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DBE8235-0FC4-4F9C-84F8-DAE4D6570F3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749999999999999</c:v>
                </c:pt>
                <c:pt idx="1">
                  <c:v>0.48870000000000002</c:v>
                </c:pt>
                <c:pt idx="2">
                  <c:v>0.45319999999999999</c:v>
                </c:pt>
                <c:pt idx="3">
                  <c:v>0.39739999999999998</c:v>
                </c:pt>
                <c:pt idx="4">
                  <c:v>0.44790000000000002</c:v>
                </c:pt>
                <c:pt idx="5">
                  <c:v>0.40329999999999999</c:v>
                </c:pt>
                <c:pt idx="6">
                  <c:v>0.55089999999999995</c:v>
                </c:pt>
                <c:pt idx="7">
                  <c:v>0.30880000000000002</c:v>
                </c:pt>
                <c:pt idx="8">
                  <c:v>0.39600000000000002</c:v>
                </c:pt>
                <c:pt idx="9">
                  <c:v>0.42920000000000003</c:v>
                </c:pt>
              </c:numCache>
            </c:numRef>
          </c:xVal>
          <c:yVal>
            <c:numRef>
              <c:f>Sheet1!$B$2:$B$11</c:f>
              <c:numCache>
                <c:formatCode>General</c:formatCode>
                <c:ptCount val="10"/>
                <c:pt idx="0">
                  <c:v>2192.542857142857</c:v>
                </c:pt>
                <c:pt idx="1">
                  <c:v>6191.2653061224491</c:v>
                </c:pt>
                <c:pt idx="2">
                  <c:v>2490.9578947368418</c:v>
                </c:pt>
                <c:pt idx="3">
                  <c:v>745.05970149253733</c:v>
                </c:pt>
                <c:pt idx="4">
                  <c:v>2854.1777777777779</c:v>
                </c:pt>
                <c:pt idx="5">
                  <c:v>3147.9191919191921</c:v>
                </c:pt>
                <c:pt idx="6">
                  <c:v>2380.0744680851062</c:v>
                </c:pt>
                <c:pt idx="7">
                  <c:v>1268.855670103093</c:v>
                </c:pt>
                <c:pt idx="8">
                  <c:v>2624.6851851851852</c:v>
                </c:pt>
                <c:pt idx="9">
                  <c:v>3421.4096385542171</c:v>
                </c:pt>
              </c:numCache>
            </c:numRef>
          </c:yVal>
          <c:bubbleSize>
            <c:numRef>
              <c:f>Sheet1!$C$2:$C$11</c:f>
              <c:numCache>
                <c:formatCode>General</c:formatCode>
                <c:ptCount val="10"/>
                <c:pt idx="0">
                  <c:v>78650.092899999989</c:v>
                </c:pt>
                <c:pt idx="1">
                  <c:v>310226.51689999999</c:v>
                </c:pt>
                <c:pt idx="2">
                  <c:v>129385.6139</c:v>
                </c:pt>
                <c:pt idx="3">
                  <c:v>30082.322400000001</c:v>
                </c:pt>
                <c:pt idx="4">
                  <c:v>141820.57579999999</c:v>
                </c:pt>
                <c:pt idx="5">
                  <c:v>185958.4334000001</c:v>
                </c:pt>
                <c:pt idx="6">
                  <c:v>100468.05989999999</c:v>
                </c:pt>
                <c:pt idx="7">
                  <c:v>85078.340200000006</c:v>
                </c:pt>
                <c:pt idx="8">
                  <c:v>85603.147900000011</c:v>
                </c:pt>
                <c:pt idx="9">
                  <c:v>162101.8536</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pt idx="1">
                    <c:v>EQUATE CALIBER 5 5 BLADE DISPOSABLE NORMAL 3CT</c:v>
                  </c:pt>
                  <c:pt idx="2">
                    <c:v>EQUATE CALIBER 3 3 BLADE DISPOSABLE NORMAL 3CT</c:v>
                  </c:pt>
                  <c:pt idx="3">
                    <c:v>EQUATE EASY FIT 5 5 BLADE REFILL NORMAL 12CT</c:v>
                  </c:pt>
                  <c:pt idx="4">
                    <c:v>EQUATE SPEED 3 SENSITIVE GREEN 3 BLADE DISPOSABLE SENSITIVE 8CT</c:v>
                  </c:pt>
                  <c:pt idx="5">
                    <c:v>EQUATE TB (TWIN BLADE) BLUE 2 BLADE DISPOSABLE NORMAL 12CT</c:v>
                  </c:pt>
                  <c:pt idx="6">
                    <c:v>EQUATE SPEED 3 SENSITIVE GREEN 3 BLADE DISPOSABLE SENSITIVE 4CT</c:v>
                  </c:pt>
                  <c:pt idx="7">
                    <c:v>EQUATE TB (TWIN BLADE) BLUE 2 BLADE DISPOSABLE NORMAL 5CT</c:v>
                  </c:pt>
                  <c:pt idx="8">
                    <c:v>EQUATE EASY FIT 5 5 BLADE REFILL NORMAL 8CT</c:v>
                  </c:pt>
                  <c:pt idx="9">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A9D8121-21AC-4A51-88DC-DCEEE652AAD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1C50126-2914-4E02-B567-E7A4513C08A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93C2437-4D54-404C-A3BB-FB6C72CEC9E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90330D0-FA33-468C-8D1D-0781D231524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63CA36B-66AC-48FD-BD42-5B300886B75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D85BCAC-9B4F-4A74-8E2F-FF86DD23889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68FAE33-A97A-4FEC-83C7-7CB13382599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6583</c:v>
                </c:pt>
                <c:pt idx="1">
                  <c:v>0.26040000000000002</c:v>
                </c:pt>
                <c:pt idx="2">
                  <c:v>0.2228</c:v>
                </c:pt>
                <c:pt idx="3">
                  <c:v>0.34549999999999997</c:v>
                </c:pt>
                <c:pt idx="4">
                  <c:v>0.2205</c:v>
                </c:pt>
                <c:pt idx="5">
                  <c:v>0.36980000000000002</c:v>
                </c:pt>
                <c:pt idx="6">
                  <c:v>0.3679</c:v>
                </c:pt>
                <c:pt idx="7">
                  <c:v>0.31850000000000001</c:v>
                </c:pt>
                <c:pt idx="8">
                  <c:v>0.2843</c:v>
                </c:pt>
                <c:pt idx="9">
                  <c:v>0.29449999999999998</c:v>
                </c:pt>
                <c:pt idx="10">
                  <c:v>-1.6830000000000001</c:v>
                </c:pt>
                <c:pt idx="11">
                  <c:v>0.36049999999999999</c:v>
                </c:pt>
                <c:pt idx="12">
                  <c:v>0.35099999999999998</c:v>
                </c:pt>
                <c:pt idx="13">
                  <c:v>-0.64170000000000005</c:v>
                </c:pt>
                <c:pt idx="14">
                  <c:v>0.3211</c:v>
                </c:pt>
                <c:pt idx="15">
                  <c:v>0.34889999999999999</c:v>
                </c:pt>
                <c:pt idx="16">
                  <c:v>0.39179999999999998</c:v>
                </c:pt>
              </c:numCache>
            </c:numRef>
          </c:xVal>
          <c:yVal>
            <c:numRef>
              <c:f>Sheet1!$B$2:$B$18</c:f>
              <c:numCache>
                <c:formatCode>General</c:formatCode>
                <c:ptCount val="17"/>
                <c:pt idx="0">
                  <c:v>1414</c:v>
                </c:pt>
                <c:pt idx="1">
                  <c:v>12997.022988505751</c:v>
                </c:pt>
                <c:pt idx="2">
                  <c:v>14923.912087912089</c:v>
                </c:pt>
                <c:pt idx="3">
                  <c:v>6147.757575757576</c:v>
                </c:pt>
                <c:pt idx="4">
                  <c:v>66122.918367346938</c:v>
                </c:pt>
                <c:pt idx="5">
                  <c:v>36195.333333333343</c:v>
                </c:pt>
                <c:pt idx="6">
                  <c:v>19149.166666666672</c:v>
                </c:pt>
                <c:pt idx="7">
                  <c:v>5750.2906976744189</c:v>
                </c:pt>
                <c:pt idx="8">
                  <c:v>19381.2</c:v>
                </c:pt>
                <c:pt idx="9">
                  <c:v>42870.586206896551</c:v>
                </c:pt>
                <c:pt idx="10">
                  <c:v>789</c:v>
                </c:pt>
                <c:pt idx="11">
                  <c:v>36036.28767123288</c:v>
                </c:pt>
                <c:pt idx="12">
                  <c:v>44077.368421052633</c:v>
                </c:pt>
                <c:pt idx="13">
                  <c:v>4359</c:v>
                </c:pt>
                <c:pt idx="14">
                  <c:v>57541.387499999997</c:v>
                </c:pt>
                <c:pt idx="15">
                  <c:v>5099.131868131868</c:v>
                </c:pt>
                <c:pt idx="16">
                  <c:v>41378.275862068956</c:v>
                </c:pt>
              </c:numCache>
            </c:numRef>
          </c:yVal>
          <c:bubbleSize>
            <c:numRef>
              <c:f>Sheet1!$C$2:$C$18</c:f>
              <c:numCache>
                <c:formatCode>General</c:formatCode>
                <c:ptCount val="17"/>
                <c:pt idx="0">
                  <c:v>2069.6071999999999</c:v>
                </c:pt>
                <c:pt idx="1">
                  <c:v>836275.50839999993</c:v>
                </c:pt>
                <c:pt idx="2">
                  <c:v>1055523.5941999999</c:v>
                </c:pt>
                <c:pt idx="3">
                  <c:v>265583.51819999999</c:v>
                </c:pt>
                <c:pt idx="4">
                  <c:v>2525616.0184999998</c:v>
                </c:pt>
                <c:pt idx="5">
                  <c:v>2189858.2104000002</c:v>
                </c:pt>
                <c:pt idx="6">
                  <c:v>72621.147599999997</c:v>
                </c:pt>
                <c:pt idx="7">
                  <c:v>336996.18599999999</c:v>
                </c:pt>
                <c:pt idx="8">
                  <c:v>69360.267600000006</c:v>
                </c:pt>
                <c:pt idx="9">
                  <c:v>2631441.1776000001</c:v>
                </c:pt>
                <c:pt idx="10">
                  <c:v>1733.2224000000001</c:v>
                </c:pt>
                <c:pt idx="11">
                  <c:v>1682330.8056999999</c:v>
                </c:pt>
                <c:pt idx="12">
                  <c:v>2717686.2453999999</c:v>
                </c:pt>
                <c:pt idx="13">
                  <c:v>6169.4463999999998</c:v>
                </c:pt>
                <c:pt idx="14">
                  <c:v>3125406.0482000001</c:v>
                </c:pt>
                <c:pt idx="15">
                  <c:v>302112.82919999998</c:v>
                </c:pt>
                <c:pt idx="16">
                  <c:v>2189444.7601999999</c:v>
                </c:pt>
              </c:numCache>
            </c:numRef>
          </c:bubbleSize>
          <c:bubble3D val="0"/>
          <c:extLst>
            <c:ext xmlns:c15="http://schemas.microsoft.com/office/drawing/2012/chart" uri="{02D57815-91ED-43cb-92C2-25804820EDAC}">
              <c15:datalabelsRange>
                <c15:f>Sheet1!$E$2:$E$50</c15:f>
                <c15:dlblRangeCache>
                  <c:ptCount val="49"/>
                  <c:pt idx="0">
                    <c:v>HYDRO 5 SENSITIVE 5 BLADE RAZOR SENSITIVE 2CT</c:v>
                  </c:pt>
                  <c:pt idx="1">
                    <c:v>SCHICK XTREME 3 SENSITIVE GREEN HOLIDAY GIFT PACK 3 BLADE DISPOSABLE SENSITIVE 8CT</c:v>
                  </c:pt>
                  <c:pt idx="2">
                    <c:v>HYDRO 5 SENSITIVE GRAY HOLIDAY GIFT PACK 5 BLADE RAZOR SENSITIVE 3CT</c:v>
                  </c:pt>
                  <c:pt idx="3">
                    <c:v>SCHICK XTREME 3 SENSITIVE GREEN BLACK 3 BLADE DISPOSABLE SENSITIVE 12CT</c:v>
                  </c:pt>
                  <c:pt idx="4">
                    <c:v>HYDRO 5 SENSITIVE 5 BLADE REFILL SENSITIVE 12CT</c:v>
                  </c:pt>
                  <c:pt idx="5">
                    <c:v>SCHICK XTREME 3 SENSITIVE BLACK 3 BLADE DISPOSABLE SENSITIVE 4CT</c:v>
                  </c:pt>
                  <c:pt idx="6">
                    <c:v>SCHICK HYDRO 3 SENSITIVE 3 BLADE RAZOR SENSITIVE 4CT</c:v>
                  </c:pt>
                  <c:pt idx="7">
                    <c:v>SCHICK XTREME 3 SENSITIVE GREEN BLACK 3 BLADE DISPOSABLE SENSITIVE 8CT</c:v>
                  </c:pt>
                  <c:pt idx="8">
                    <c:v>SCHICK HYDRO 3 SENSITIVE 3 BLADE REFILL SENSITIVE 5CT</c:v>
                  </c:pt>
                  <c:pt idx="9">
                    <c:v>SCHICK XTREME 3 SENSITIVE GREEN 3 BLADE DISPOSABLE SENSITIVE 8CT</c:v>
                  </c:pt>
                  <c:pt idx="10">
                    <c:v>HYDRO 5 DRY SKIN 5 BLADE REFILL NORMAL 4CT</c:v>
                  </c:pt>
                  <c:pt idx="11">
                    <c:v>SCHICK XTREME 3 SENSITIVE BLACK GREEN 3 BLADE DISPOSABLE SENSITIVE 12CT</c:v>
                  </c:pt>
                  <c:pt idx="12">
                    <c:v>SCHICK XTREME 2 SENSITIVE 2 BLADE DISPOSABLE NORMAL 12CT</c:v>
                  </c:pt>
                  <c:pt idx="13">
                    <c:v>HYDRO 5 SENSITIVE 5 BLADE REFILL SENSITIVE 4CT</c:v>
                  </c:pt>
                  <c:pt idx="14">
                    <c:v>HYDRO 5 SENSITIVE 5 BLADE REFILL SENSITIVE 6CT</c:v>
                  </c:pt>
                  <c:pt idx="15">
                    <c:v>SCHICK XTREME 3 SENSITIVE GREEN BLACK 3 BLADE DISPOSABLE SENSITIVE 4CT</c:v>
                  </c:pt>
                  <c:pt idx="16">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C7D7D41-10C5-444D-9AD4-27D305B940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CC0802E-0118-4AC2-ADA4-9D6389D117F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D270F277-E28C-493C-B596-D6681562D20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571B0DA-F958-4BF5-8F54-53E25DE87BE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8FD1C47-85FE-4475-9C27-2DEE9AC28CF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79B9308-A83B-4AD0-9AB8-E8409EEC7F2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46406F8-CFED-41F7-AF72-535B9E6151E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4639999999999999</c:v>
                </c:pt>
                <c:pt idx="1">
                  <c:v>0.36659999999999998</c:v>
                </c:pt>
              </c:numCache>
            </c:numRef>
          </c:xVal>
          <c:yVal>
            <c:numRef>
              <c:f>Sheet1!$B$2:$B$3</c:f>
              <c:numCache>
                <c:formatCode>General</c:formatCode>
                <c:ptCount val="2"/>
                <c:pt idx="0">
                  <c:v>5990.2857142857138</c:v>
                </c:pt>
                <c:pt idx="1">
                  <c:v>6680.8461538461543</c:v>
                </c:pt>
              </c:numCache>
            </c:numRef>
          </c:yVal>
          <c:bubbleSize>
            <c:numRef>
              <c:f>Sheet1!$C$2:$C$3</c:f>
              <c:numCache>
                <c:formatCode>General</c:formatCode>
                <c:ptCount val="2"/>
                <c:pt idx="0">
                  <c:v>27404.931199999999</c:v>
                </c:pt>
                <c:pt idx="1">
                  <c:v>55007.155300000013</c:v>
                </c:pt>
              </c:numCache>
            </c:numRef>
          </c:bubbleSize>
          <c:bubble3D val="0"/>
          <c:extLst>
            <c:ext xmlns:c15="http://schemas.microsoft.com/office/drawing/2012/chart" uri="{02D57815-91ED-43cb-92C2-25804820EDAC}">
              <c15:datalabelsRange>
                <c15:f>Sheet1!$E$2:$E$50</c15:f>
                <c15:dlblRangeCache>
                  <c:ptCount val="49"/>
                  <c:pt idx="0">
                    <c:v>CREMO 5 BLADE REFILL NORMAL 4CT</c:v>
                  </c:pt>
                  <c:pt idx="1">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AA257B4-1FB0-40A4-95F3-F0317339DAD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F769356-EB29-4CED-8CB0-4B6AD2212DA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4BF35B-55AD-4DA4-95B8-25BE9AEE681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755F53-8A4C-4D38-9797-4C69FF6D522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5690059-D1EB-4D34-BE00-000BF6BD681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D3B18D9-CC6D-4BC9-808A-0B22ABB0DE3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E32BEE7-E8CA-4B13-B4E8-1A279FAB98B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84</c:v>
                </c:pt>
                <c:pt idx="1">
                  <c:v>0.48330000000000001</c:v>
                </c:pt>
                <c:pt idx="2">
                  <c:v>0.44669999999999999</c:v>
                </c:pt>
                <c:pt idx="3">
                  <c:v>0.3987</c:v>
                </c:pt>
                <c:pt idx="4">
                  <c:v>0.44779999999999998</c:v>
                </c:pt>
                <c:pt idx="5">
                  <c:v>0.4032</c:v>
                </c:pt>
                <c:pt idx="6">
                  <c:v>0.54710000000000003</c:v>
                </c:pt>
                <c:pt idx="7">
                  <c:v>0.29770000000000002</c:v>
                </c:pt>
                <c:pt idx="8">
                  <c:v>0.40649999999999997</c:v>
                </c:pt>
                <c:pt idx="9">
                  <c:v>0.43009999999999998</c:v>
                </c:pt>
              </c:numCache>
            </c:numRef>
          </c:xVal>
          <c:yVal>
            <c:numRef>
              <c:f>Sheet1!$B$2:$B$11</c:f>
              <c:numCache>
                <c:formatCode>General</c:formatCode>
                <c:ptCount val="10"/>
                <c:pt idx="0">
                  <c:v>26568.493506493509</c:v>
                </c:pt>
                <c:pt idx="1">
                  <c:v>76941.121212121216</c:v>
                </c:pt>
                <c:pt idx="2">
                  <c:v>29486.863157894739</c:v>
                </c:pt>
                <c:pt idx="3">
                  <c:v>8564.5633802816901</c:v>
                </c:pt>
                <c:pt idx="4">
                  <c:v>33695.247311827959</c:v>
                </c:pt>
                <c:pt idx="5">
                  <c:v>32799.737373737371</c:v>
                </c:pt>
                <c:pt idx="6">
                  <c:v>32042.247422680412</c:v>
                </c:pt>
                <c:pt idx="7">
                  <c:v>14956.693877551021</c:v>
                </c:pt>
                <c:pt idx="8">
                  <c:v>32905.133333333331</c:v>
                </c:pt>
                <c:pt idx="9">
                  <c:v>46244.011627906977</c:v>
                </c:pt>
              </c:numCache>
            </c:numRef>
          </c:yVal>
          <c:bubbleSize>
            <c:numRef>
              <c:f>Sheet1!$C$2:$C$11</c:f>
              <c:numCache>
                <c:formatCode>General</c:formatCode>
                <c:ptCount val="10"/>
                <c:pt idx="0">
                  <c:v>1046552.1158</c:v>
                </c:pt>
                <c:pt idx="1">
                  <c:v>3936071.3594</c:v>
                </c:pt>
                <c:pt idx="2">
                  <c:v>1549808.4678</c:v>
                </c:pt>
                <c:pt idx="3">
                  <c:v>365615.01729999989</c:v>
                </c:pt>
                <c:pt idx="4">
                  <c:v>1730514.1758999999</c:v>
                </c:pt>
                <c:pt idx="5">
                  <c:v>1937934.2557999999</c:v>
                </c:pt>
                <c:pt idx="6">
                  <c:v>1407622.4701</c:v>
                </c:pt>
                <c:pt idx="7">
                  <c:v>1029392.1368</c:v>
                </c:pt>
                <c:pt idx="8">
                  <c:v>1171834.1069</c:v>
                </c:pt>
                <c:pt idx="9">
                  <c:v>2266539.6035000002</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pt idx="1">
                    <c:v>EQUATE CALIBER 5 5 BLADE DISPOSABLE NORMAL 3CT</c:v>
                  </c:pt>
                  <c:pt idx="2">
                    <c:v>EQUATE CALIBER 3 3 BLADE DISPOSABLE NORMAL 3CT</c:v>
                  </c:pt>
                  <c:pt idx="3">
                    <c:v>EQUATE EASY FIT 5 5 BLADE REFILL NORMAL 12CT</c:v>
                  </c:pt>
                  <c:pt idx="4">
                    <c:v>EQUATE SPEED 3 SENSITIVE GREEN 3 BLADE DISPOSABLE SENSITIVE 8CT</c:v>
                  </c:pt>
                  <c:pt idx="5">
                    <c:v>EQUATE TB (TWIN BLADE) BLUE 2 BLADE DISPOSABLE NORMAL 12CT</c:v>
                  </c:pt>
                  <c:pt idx="6">
                    <c:v>EQUATE SPEED 3 SENSITIVE GREEN 3 BLADE DISPOSABLE SENSITIVE 4CT</c:v>
                  </c:pt>
                  <c:pt idx="7">
                    <c:v>EQUATE TB (TWIN BLADE) BLUE 2 BLADE DISPOSABLE NORMAL 5CT</c:v>
                  </c:pt>
                  <c:pt idx="8">
                    <c:v>EQUATE EASY FIT 5 5 BLADE REFILL NORMAL 8CT</c:v>
                  </c:pt>
                  <c:pt idx="9">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4ACDB11-E5E2-48F8-A914-4BB2F7AF93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684F2B1-770E-41F1-912C-2EF5B64353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7B0A096-F261-4D56-AC07-A4B7C16FB15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5F298E-E4C0-4144-AF1A-B72DEEFC621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8C3E588-6519-4249-8392-B81062DCF02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D27C7B2-E5E8-456C-98D7-9E182F805A5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A3DACC4-B239-4822-8368-3D73D71A68C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6</c:v>
                </c:pt>
                <c:pt idx="1">
                  <c:v>0.34610000000000002</c:v>
                </c:pt>
                <c:pt idx="2">
                  <c:v>0.37019999999999997</c:v>
                </c:pt>
                <c:pt idx="3">
                  <c:v>0.31940000000000002</c:v>
                </c:pt>
                <c:pt idx="4">
                  <c:v>0.29509999999999997</c:v>
                </c:pt>
                <c:pt idx="5">
                  <c:v>0.36099999999999999</c:v>
                </c:pt>
                <c:pt idx="6">
                  <c:v>0.35170000000000001</c:v>
                </c:pt>
                <c:pt idx="7">
                  <c:v>0.34960000000000002</c:v>
                </c:pt>
              </c:numCache>
            </c:numRef>
          </c:xVal>
          <c:yVal>
            <c:numRef>
              <c:f>Sheet1!$B$2:$B$9</c:f>
              <c:numCache>
                <c:formatCode>General</c:formatCode>
                <c:ptCount val="8"/>
                <c:pt idx="0">
                  <c:v>14944.044795783921</c:v>
                </c:pt>
                <c:pt idx="1">
                  <c:v>7261.4353312302837</c:v>
                </c:pt>
                <c:pt idx="2">
                  <c:v>42642.536842105263</c:v>
                </c:pt>
                <c:pt idx="3">
                  <c:v>6803.5545023696686</c:v>
                </c:pt>
                <c:pt idx="4">
                  <c:v>51342.777129521593</c:v>
                </c:pt>
                <c:pt idx="5">
                  <c:v>42879.101283880183</c:v>
                </c:pt>
                <c:pt idx="6">
                  <c:v>52579.062832800853</c:v>
                </c:pt>
                <c:pt idx="7">
                  <c:v>6009.7767857142853</c:v>
                </c:pt>
              </c:numCache>
            </c:numRef>
          </c:yVal>
          <c:bubbleSize>
            <c:numRef>
              <c:f>Sheet1!$C$2:$C$9</c:f>
              <c:numCache>
                <c:formatCode>General</c:formatCode>
                <c:ptCount val="8"/>
                <c:pt idx="0">
                  <c:v>838701.68579999998</c:v>
                </c:pt>
                <c:pt idx="1">
                  <c:v>301018.2378</c:v>
                </c:pt>
                <c:pt idx="2">
                  <c:v>2551270.2801999999</c:v>
                </c:pt>
                <c:pt idx="3">
                  <c:v>390839.13900000002</c:v>
                </c:pt>
                <c:pt idx="4">
                  <c:v>3101731.2096000002</c:v>
                </c:pt>
                <c:pt idx="5">
                  <c:v>1920827.2086</c:v>
                </c:pt>
                <c:pt idx="6">
                  <c:v>3200726.89</c:v>
                </c:pt>
                <c:pt idx="7">
                  <c:v>350237.70730000013</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SCHICK XTREME 3 SENSITIVE GREEN BLACK 3 BLADE DISPOSABLE SENSITIVE 12CT</c:v>
                  </c:pt>
                  <c:pt idx="2">
                    <c:v>SCHICK XTREME 3 SENSITIVE BLACK 3 BLADE DISPOSABLE SENSITIVE 4CT</c:v>
                  </c:pt>
                  <c:pt idx="3">
                    <c:v>SCHICK XTREME 3 SENSITIVE GREEN BLACK 3 BLADE DISPOSABLE SENSITIVE 8CT</c:v>
                  </c:pt>
                  <c:pt idx="4">
                    <c:v>SCHICK XTREME 3 SENSITIVE GREEN 3 BLADE DISPOSABLE SENSITIVE 8CT</c:v>
                  </c:pt>
                  <c:pt idx="5">
                    <c:v>SCHICK XTREME 3 SENSITIVE BLACK GREEN 3 BLADE DISPOSABLE SENSITIVE 12CT</c:v>
                  </c:pt>
                  <c:pt idx="6">
                    <c:v>SCHICK XTREME 2 SENSITIVE 2 BLADE DISPOSABLE NORMAL 12CT</c:v>
                  </c:pt>
                  <c:pt idx="7">
                    <c:v>SCHICK XTREME 3 SENSITIVE GREEN BLACK 3 BLADE DISPOSABLE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B26D89D-92C1-48DB-BA5C-8711187C9F3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B1C004-4A9A-4352-BF84-942CD5D5DA8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9C031F1-62C2-4A8D-8EFC-DB2307B798B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7A596DD-D352-410C-90FF-D8551F0DA68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20EC802-C2AF-4207-88EA-4CB464A6270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9A72604-480C-4821-B5C3-D0467B1CBCA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3B94956-2C7F-401D-A965-697E89022FE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70000000000002</c:v>
                </c:pt>
                <c:pt idx="1">
                  <c:v>0.44729999999999998</c:v>
                </c:pt>
                <c:pt idx="2">
                  <c:v>0.44769999999999999</c:v>
                </c:pt>
                <c:pt idx="3">
                  <c:v>0.4032</c:v>
                </c:pt>
                <c:pt idx="4">
                  <c:v>0.5474</c:v>
                </c:pt>
                <c:pt idx="5">
                  <c:v>0.29899999999999999</c:v>
                </c:pt>
              </c:numCache>
            </c:numRef>
          </c:xVal>
          <c:yVal>
            <c:numRef>
              <c:f>Sheet1!$B$2:$B$7</c:f>
              <c:numCache>
                <c:formatCode>General</c:formatCode>
                <c:ptCount val="6"/>
                <c:pt idx="0">
                  <c:v>88856.375634517768</c:v>
                </c:pt>
                <c:pt idx="1">
                  <c:v>34693.635394456287</c:v>
                </c:pt>
                <c:pt idx="2">
                  <c:v>39700.241492864981</c:v>
                </c:pt>
                <c:pt idx="3">
                  <c:v>38983.218623481793</c:v>
                </c:pt>
                <c:pt idx="4">
                  <c:v>37190.417101147032</c:v>
                </c:pt>
                <c:pt idx="5">
                  <c:v>17923.486707566459</c:v>
                </c:pt>
              </c:numCache>
            </c:numRef>
          </c:yVal>
          <c:bubbleSize>
            <c:numRef>
              <c:f>Sheet1!$C$2:$C$7</c:f>
              <c:numCache>
                <c:formatCode>General</c:formatCode>
                <c:ptCount val="6"/>
                <c:pt idx="0">
                  <c:v>4518773.5040000007</c:v>
                </c:pt>
                <c:pt idx="1">
                  <c:v>1798622.3696000001</c:v>
                </c:pt>
                <c:pt idx="2">
                  <c:v>1997336.7135999999</c:v>
                </c:pt>
                <c:pt idx="3">
                  <c:v>2298580.1270000008</c:v>
                </c:pt>
                <c:pt idx="4">
                  <c:v>1614221.3448999999</c:v>
                </c:pt>
                <c:pt idx="5">
                  <c:v>1228819.4014000001</c:v>
                </c:pt>
              </c:numCache>
            </c:numRef>
          </c:bubbleSize>
          <c:bubble3D val="0"/>
          <c:extLst>
            <c:ext xmlns:c15="http://schemas.microsoft.com/office/drawing/2012/chart" uri="{02D57815-91ED-43cb-92C2-25804820EDAC}">
              <c15:datalabelsRange>
                <c15:f>Sheet1!$E$2:$E$50</c15:f>
                <c15:dlblRangeCache>
                  <c:ptCount val="49"/>
                  <c:pt idx="0">
                    <c:v>EQUATE CALIBER 5 5 BLADE DISPOSABLE NORMAL 3CT</c:v>
                  </c:pt>
                  <c:pt idx="1">
                    <c:v>EQUATE CALIBER 3 3 BLADE DISPOSABLE NORMAL 3CT</c:v>
                  </c:pt>
                  <c:pt idx="2">
                    <c:v>EQUATE SPEED 3 SENSITIVE GREEN 3 BLADE DISPOSABLE SENSITIVE 8CT</c:v>
                  </c:pt>
                  <c:pt idx="3">
                    <c:v>EQUATE TB (TWIN BLADE) BLUE 2 BLADE DISPOSABLE NORMAL 12CT</c:v>
                  </c:pt>
                  <c:pt idx="4">
                    <c:v>EQUATE SPEED 3 SENSITIVE GREEN 3 BLADE DISPOSABLE SENSITIVE 4CT</c:v>
                  </c:pt>
                  <c:pt idx="5">
                    <c:v>EQUATE TB (TWIN BLADE) BLUE 2 BLADE DISPOSABLE NORMAL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96F282B-D2FA-42EE-A7AC-61E50CA9103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0A58997-9CF6-47F5-A67A-E3ECA924C68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F27EEE5-8145-4256-865A-CB14A067E14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AB304A1-F244-4716-B3D3-9C99EDDD8FC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C17927-CAA5-403F-AC50-2A1261944D8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D387FC4-76C4-4CF9-A1E6-2F9A4EB99A0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E8C3F79-C1B8-43AC-8FC9-D43247CB64A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458</c:v>
                </c:pt>
                <c:pt idx="1">
                  <c:v>0.3705</c:v>
                </c:pt>
                <c:pt idx="2">
                  <c:v>0.32150000000000001</c:v>
                </c:pt>
                <c:pt idx="3">
                  <c:v>0.29580000000000001</c:v>
                </c:pt>
                <c:pt idx="4">
                  <c:v>0.35849999999999999</c:v>
                </c:pt>
                <c:pt idx="5">
                  <c:v>0.35320000000000001</c:v>
                </c:pt>
                <c:pt idx="6">
                  <c:v>0.35060000000000002</c:v>
                </c:pt>
              </c:numCache>
            </c:numRef>
          </c:xVal>
          <c:yVal>
            <c:numRef>
              <c:f>Sheet1!$B$2:$B$8</c:f>
              <c:numCache>
                <c:formatCode>General</c:formatCode>
                <c:ptCount val="7"/>
                <c:pt idx="0">
                  <c:v>743.54166666666663</c:v>
                </c:pt>
                <c:pt idx="1">
                  <c:v>3557.6049382716051</c:v>
                </c:pt>
                <c:pt idx="2">
                  <c:v>609.59016393442619</c:v>
                </c:pt>
                <c:pt idx="3">
                  <c:v>5031.3076923076924</c:v>
                </c:pt>
                <c:pt idx="4">
                  <c:v>4859.9333333333334</c:v>
                </c:pt>
                <c:pt idx="5">
                  <c:v>4400.727272727273</c:v>
                </c:pt>
                <c:pt idx="6">
                  <c:v>536.43661971830988</c:v>
                </c:pt>
              </c:numCache>
            </c:numRef>
          </c:yVal>
          <c:bubbleSize>
            <c:numRef>
              <c:f>Sheet1!$C$2:$C$8</c:f>
              <c:numCache>
                <c:formatCode>General</c:formatCode>
                <c:ptCount val="7"/>
                <c:pt idx="0">
                  <c:v>11674.0008</c:v>
                </c:pt>
                <c:pt idx="1">
                  <c:v>181395.77009999999</c:v>
                </c:pt>
                <c:pt idx="2">
                  <c:v>25231.624599999999</c:v>
                </c:pt>
                <c:pt idx="3">
                  <c:v>230309.52960000001</c:v>
                </c:pt>
                <c:pt idx="4">
                  <c:v>93532.54770000001</c:v>
                </c:pt>
                <c:pt idx="5">
                  <c:v>219178.04300000001</c:v>
                </c:pt>
                <c:pt idx="6">
                  <c:v>24732.3076</c:v>
                </c:pt>
              </c:numCache>
            </c:numRef>
          </c:bubbleSize>
          <c:bubble3D val="0"/>
          <c:extLst>
            <c:ext xmlns:c15="http://schemas.microsoft.com/office/drawing/2012/chart" uri="{02D57815-91ED-43cb-92C2-25804820EDAC}">
              <c15:datalabelsRange>
                <c15:f>Sheet1!$E$2:$E$50</c15:f>
                <c15:dlblRangeCache>
                  <c:ptCount val="49"/>
                  <c:pt idx="0">
                    <c:v>SCHICK XTREME 3 SENSITIVE GREEN BLACK 3 BLADE DISPOSABLE SENSITIVE 12CT</c:v>
                  </c:pt>
                  <c:pt idx="1">
                    <c:v>SCHICK XTREME 3 SENSITIVE BLACK 3 BLADE DISPOSABLE SENSITIVE 4CT</c:v>
                  </c:pt>
                  <c:pt idx="2">
                    <c:v>SCHICK XTREME 3 SENSITIVE GREEN BLACK 3 BLADE DISPOSABLE SENSITIVE 8CT</c:v>
                  </c:pt>
                  <c:pt idx="3">
                    <c:v>SCHICK XTREME 3 SENSITIVE GREEN 3 BLADE DISPOSABLE SENSITIVE 8CT</c:v>
                  </c:pt>
                  <c:pt idx="4">
                    <c:v>SCHICK XTREME 3 SENSITIVE BLACK GREEN 3 BLADE DISPOSABLE SENSITIVE 12CT</c:v>
                  </c:pt>
                  <c:pt idx="5">
                    <c:v>SCHICK XTREME 2 SENSITIVE 2 BLADE DISPOSABLE NORMAL 12CT</c:v>
                  </c:pt>
                  <c:pt idx="6">
                    <c:v>SCHICK XTREME 3 SENSITIVE GREEN BLACK 3 BLADE DISPOSABLE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2F85054-AD8B-43CB-BB2E-FC624892C1F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0FC1EF6-B014-4BDD-B4D3-790CCAD7486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52C80CE-D085-494D-85BD-3F75C1B0CCB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0CA0ED8-EE67-4103-9F20-B20C8A4F3C0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B6C9A6E-DCEE-437B-9DC7-B892BAE9DA6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9D5ED0F-5C9E-4EAF-B4D0-D4FF30972E1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CADAF1F-5FC8-4002-9175-75617925FA0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44</c:v>
                </c:pt>
                <c:pt idx="1">
                  <c:v>0.44800000000000001</c:v>
                </c:pt>
                <c:pt idx="2">
                  <c:v>0.44729999999999998</c:v>
                </c:pt>
                <c:pt idx="3">
                  <c:v>0.4032</c:v>
                </c:pt>
                <c:pt idx="4">
                  <c:v>0.54790000000000005</c:v>
                </c:pt>
                <c:pt idx="5">
                  <c:v>0.30309999999999998</c:v>
                </c:pt>
              </c:numCache>
            </c:numRef>
          </c:xVal>
          <c:yVal>
            <c:numRef>
              <c:f>Sheet1!$B$2:$B$7</c:f>
              <c:numCache>
                <c:formatCode>General</c:formatCode>
                <c:ptCount val="6"/>
                <c:pt idx="0">
                  <c:v>5807.0109890109889</c:v>
                </c:pt>
                <c:pt idx="1">
                  <c:v>2923.9189189189192</c:v>
                </c:pt>
                <c:pt idx="2">
                  <c:v>3479.353846153846</c:v>
                </c:pt>
                <c:pt idx="3">
                  <c:v>3081.3052631578948</c:v>
                </c:pt>
                <c:pt idx="4">
                  <c:v>2862.6341463414628</c:v>
                </c:pt>
                <c:pt idx="5">
                  <c:v>1727.1789473684209</c:v>
                </c:pt>
              </c:numCache>
            </c:numRef>
          </c:yVal>
          <c:bubbleSize>
            <c:numRef>
              <c:f>Sheet1!$C$2:$C$7</c:f>
              <c:numCache>
                <c:formatCode>General</c:formatCode>
                <c:ptCount val="6"/>
                <c:pt idx="0">
                  <c:v>272475.62770000001</c:v>
                </c:pt>
                <c:pt idx="1">
                  <c:v>119428.2879</c:v>
                </c:pt>
                <c:pt idx="2">
                  <c:v>125001.96189999999</c:v>
                </c:pt>
                <c:pt idx="3">
                  <c:v>174687.43780000001</c:v>
                </c:pt>
                <c:pt idx="4">
                  <c:v>106130.8149</c:v>
                </c:pt>
                <c:pt idx="5">
                  <c:v>114348.9244</c:v>
                </c:pt>
              </c:numCache>
            </c:numRef>
          </c:bubbleSize>
          <c:bubble3D val="0"/>
          <c:extLst>
            <c:ext xmlns:c15="http://schemas.microsoft.com/office/drawing/2012/chart" uri="{02D57815-91ED-43cb-92C2-25804820EDAC}">
              <c15:datalabelsRange>
                <c15:f>Sheet1!$E$2:$E$50</c15:f>
                <c15:dlblRangeCache>
                  <c:ptCount val="49"/>
                  <c:pt idx="0">
                    <c:v>EQUATE CALIBER 5 5 BLADE DISPOSABLE NORMAL 3CT</c:v>
                  </c:pt>
                  <c:pt idx="1">
                    <c:v>EQUATE CALIBER 3 3 BLADE DISPOSABLE NORMAL 3CT</c:v>
                  </c:pt>
                  <c:pt idx="2">
                    <c:v>EQUATE SPEED 3 SENSITIVE GREEN 3 BLADE DISPOSABLE SENSITIVE 8CT</c:v>
                  </c:pt>
                  <c:pt idx="3">
                    <c:v>EQUATE TB (TWIN BLADE) BLUE 2 BLADE DISPOSABLE NORMAL 12CT</c:v>
                  </c:pt>
                  <c:pt idx="4">
                    <c:v>EQUATE SPEED 3 SENSITIVE GREEN 3 BLADE DISPOSABLE SENSITIVE 4CT</c:v>
                  </c:pt>
                  <c:pt idx="5">
                    <c:v>EQUATE TB (TWIN BLADE) BLUE 2 BLADE DISPOSABLE NORMAL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B$2:$B$11</c:f>
              <c:numCache>
                <c:formatCode>General</c:formatCode>
                <c:ptCount val="10"/>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pt idx="8">
                  <c:v>4.0335974829016231E-4</c:v>
                </c:pt>
                <c:pt idx="9">
                  <c:v>8.4438603389384986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C$2:$C$11</c:f>
              <c:numCache>
                <c:formatCode>General</c:formatCode>
                <c:ptCount val="10"/>
                <c:pt idx="0">
                  <c:v>0.47816294354921307</c:v>
                </c:pt>
                <c:pt idx="1">
                  <c:v>0.13951964618440177</c:v>
                </c:pt>
                <c:pt idx="2">
                  <c:v>0.12367165584880933</c:v>
                </c:pt>
                <c:pt idx="3">
                  <c:v>6.7220868568152459E-2</c:v>
                </c:pt>
                <c:pt idx="4">
                  <c:v>6.2204385839185874E-2</c:v>
                </c:pt>
                <c:pt idx="5">
                  <c:v>6.0668727860930784E-2</c:v>
                </c:pt>
                <c:pt idx="6">
                  <c:v>3.0876963082782195E-2</c:v>
                </c:pt>
                <c:pt idx="7">
                  <c:v>3.1184094678433208E-2</c:v>
                </c:pt>
                <c:pt idx="8">
                  <c:v>4.0746125023034862E-3</c:v>
                </c:pt>
                <c:pt idx="9">
                  <c:v>2.416101885787996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D$2:$D$11</c:f>
              <c:numCache>
                <c:formatCode>General</c:formatCode>
                <c:ptCount val="10"/>
                <c:pt idx="0">
                  <c:v>82.923942278386619</c:v>
                </c:pt>
                <c:pt idx="1">
                  <c:v>66.575999360649575</c:v>
                </c:pt>
                <c:pt idx="2">
                  <c:v>185.29151833655234</c:v>
                </c:pt>
                <c:pt idx="3">
                  <c:v>152.24566796032838</c:v>
                </c:pt>
                <c:pt idx="4">
                  <c:v>160.59849000530221</c:v>
                </c:pt>
                <c:pt idx="5">
                  <c:v>201.63864185868832</c:v>
                </c:pt>
                <c:pt idx="6">
                  <c:v>172.83577902118904</c:v>
                </c:pt>
                <c:pt idx="7">
                  <c:v>197.21162330289965</c:v>
                </c:pt>
                <c:pt idx="8">
                  <c:v>1010.1683471332292</c:v>
                </c:pt>
                <c:pt idx="9">
                  <c:v>28613.7120796070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25A73D8-2778-4F24-97B8-00217B24DA3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DC56558-B169-49B9-B6B1-EA3AE354AF2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444F8B9-F3E9-4FAB-9546-4A069379725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F5644A4-CD56-4449-AE15-C724F37432F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FF6621E-1751-43E5-BC30-D5F5035CED9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38C6A42-CA0B-42E4-9E32-AB858BC89B1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1B60EFE-FC63-4A0D-A9EC-E38B5557A13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0980000000000002</c:v>
                </c:pt>
                <c:pt idx="1">
                  <c:v>0.35389999999999999</c:v>
                </c:pt>
                <c:pt idx="2">
                  <c:v>0.37519999999999998</c:v>
                </c:pt>
                <c:pt idx="3">
                  <c:v>0.32700000000000001</c:v>
                </c:pt>
                <c:pt idx="4">
                  <c:v>0.30099999999999999</c:v>
                </c:pt>
                <c:pt idx="5">
                  <c:v>0.36799999999999999</c:v>
                </c:pt>
                <c:pt idx="6">
                  <c:v>0.3579</c:v>
                </c:pt>
                <c:pt idx="7">
                  <c:v>0.35680000000000001</c:v>
                </c:pt>
              </c:numCache>
            </c:numRef>
          </c:xVal>
          <c:yVal>
            <c:numRef>
              <c:f>Sheet1!$B$2:$B$9</c:f>
              <c:numCache>
                <c:formatCode>General</c:formatCode>
                <c:ptCount val="8"/>
                <c:pt idx="0">
                  <c:v>874</c:v>
                </c:pt>
                <c:pt idx="1">
                  <c:v>574.65625</c:v>
                </c:pt>
                <c:pt idx="2">
                  <c:v>3032.8736842105259</c:v>
                </c:pt>
                <c:pt idx="3">
                  <c:v>506.07142857142861</c:v>
                </c:pt>
                <c:pt idx="4">
                  <c:v>3945.977011494253</c:v>
                </c:pt>
                <c:pt idx="5">
                  <c:v>3373.205882352941</c:v>
                </c:pt>
                <c:pt idx="6">
                  <c:v>4372</c:v>
                </c:pt>
                <c:pt idx="7">
                  <c:v>413.27272727272731</c:v>
                </c:pt>
              </c:numCache>
            </c:numRef>
          </c:yVal>
          <c:bubbleSize>
            <c:numRef>
              <c:f>Sheet1!$C$2:$C$9</c:f>
              <c:numCache>
                <c:formatCode>General</c:formatCode>
                <c:ptCount val="8"/>
                <c:pt idx="0">
                  <c:v>2412.9196000000002</c:v>
                </c:pt>
                <c:pt idx="1">
                  <c:v>23760.718799999999</c:v>
                </c:pt>
                <c:pt idx="2">
                  <c:v>180016.2997</c:v>
                </c:pt>
                <c:pt idx="3">
                  <c:v>28611.328399999999</c:v>
                </c:pt>
                <c:pt idx="4">
                  <c:v>239980.5024</c:v>
                </c:pt>
                <c:pt idx="5">
                  <c:v>144963.85519999999</c:v>
                </c:pt>
                <c:pt idx="6">
                  <c:v>263862.60160000011</c:v>
                </c:pt>
                <c:pt idx="7">
                  <c:v>23392.570500000002</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SCHICK XTREME 3 SENSITIVE GREEN BLACK 3 BLADE DISPOSABLE SENSITIVE 12CT</c:v>
                  </c:pt>
                  <c:pt idx="2">
                    <c:v>SCHICK XTREME 3 SENSITIVE BLACK 3 BLADE DISPOSABLE SENSITIVE 4CT</c:v>
                  </c:pt>
                  <c:pt idx="3">
                    <c:v>SCHICK XTREME 3 SENSITIVE GREEN BLACK 3 BLADE DISPOSABLE SENSITIVE 8CT</c:v>
                  </c:pt>
                  <c:pt idx="4">
                    <c:v>SCHICK XTREME 3 SENSITIVE GREEN 3 BLADE DISPOSABLE SENSITIVE 8CT</c:v>
                  </c:pt>
                  <c:pt idx="5">
                    <c:v>SCHICK XTREME 3 SENSITIVE BLACK GREEN 3 BLADE DISPOSABLE SENSITIVE 12CT</c:v>
                  </c:pt>
                  <c:pt idx="6">
                    <c:v>SCHICK XTREME 2 SENSITIVE 2 BLADE DISPOSABLE NORMAL 12CT</c:v>
                  </c:pt>
                  <c:pt idx="7">
                    <c:v>SCHICK XTREME 3 SENSITIVE GREEN BLACK 3 BLADE DISPOSABLE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E10658F-811C-4C99-B6DD-D0E8C84B635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6F81D50-2004-4EE0-A247-960EA61D0B9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94338B4-D7DA-4D7E-9606-2C6B221328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FD17EE4-57F1-4B1F-B102-2D8A74B5212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11EC9A8-A770-46F6-8452-7E3202D8E15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D6C8C63-52E0-4327-A491-A744A274908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1D479FB-9319-4EC0-8844-B094D313EC4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870000000000002</c:v>
                </c:pt>
                <c:pt idx="1">
                  <c:v>0.45319999999999999</c:v>
                </c:pt>
                <c:pt idx="2">
                  <c:v>0.44790000000000002</c:v>
                </c:pt>
                <c:pt idx="3">
                  <c:v>0.40329999999999999</c:v>
                </c:pt>
                <c:pt idx="4">
                  <c:v>0.55089999999999995</c:v>
                </c:pt>
                <c:pt idx="5">
                  <c:v>0.30880000000000002</c:v>
                </c:pt>
              </c:numCache>
            </c:numRef>
          </c:xVal>
          <c:yVal>
            <c:numRef>
              <c:f>Sheet1!$B$2:$B$7</c:f>
              <c:numCache>
                <c:formatCode>General</c:formatCode>
                <c:ptCount val="6"/>
                <c:pt idx="0">
                  <c:v>6191.2653061224491</c:v>
                </c:pt>
                <c:pt idx="1">
                  <c:v>2490.9578947368418</c:v>
                </c:pt>
                <c:pt idx="2">
                  <c:v>2854.1777777777779</c:v>
                </c:pt>
                <c:pt idx="3">
                  <c:v>3147.9191919191921</c:v>
                </c:pt>
                <c:pt idx="4">
                  <c:v>2380.0744680851062</c:v>
                </c:pt>
                <c:pt idx="5">
                  <c:v>1268.855670103093</c:v>
                </c:pt>
              </c:numCache>
            </c:numRef>
          </c:yVal>
          <c:bubbleSize>
            <c:numRef>
              <c:f>Sheet1!$C$2:$C$7</c:f>
              <c:numCache>
                <c:formatCode>General</c:formatCode>
                <c:ptCount val="6"/>
                <c:pt idx="0">
                  <c:v>310226.51689999999</c:v>
                </c:pt>
                <c:pt idx="1">
                  <c:v>129385.6139</c:v>
                </c:pt>
                <c:pt idx="2">
                  <c:v>141820.57579999999</c:v>
                </c:pt>
                <c:pt idx="3">
                  <c:v>185958.4334000001</c:v>
                </c:pt>
                <c:pt idx="4">
                  <c:v>100468.05989999999</c:v>
                </c:pt>
                <c:pt idx="5">
                  <c:v>85078.340200000006</c:v>
                </c:pt>
              </c:numCache>
            </c:numRef>
          </c:bubbleSize>
          <c:bubble3D val="0"/>
          <c:extLst>
            <c:ext xmlns:c15="http://schemas.microsoft.com/office/drawing/2012/chart" uri="{02D57815-91ED-43cb-92C2-25804820EDAC}">
              <c15:datalabelsRange>
                <c15:f>Sheet1!$E$2:$E$50</c15:f>
                <c15:dlblRangeCache>
                  <c:ptCount val="49"/>
                  <c:pt idx="0">
                    <c:v>EQUATE CALIBER 5 5 BLADE DISPOSABLE NORMAL 3CT</c:v>
                  </c:pt>
                  <c:pt idx="1">
                    <c:v>EQUATE CALIBER 3 3 BLADE DISPOSABLE NORMAL 3CT</c:v>
                  </c:pt>
                  <c:pt idx="2">
                    <c:v>EQUATE SPEED 3 SENSITIVE GREEN 3 BLADE DISPOSABLE SENSITIVE 8CT</c:v>
                  </c:pt>
                  <c:pt idx="3">
                    <c:v>EQUATE TB (TWIN BLADE) BLUE 2 BLADE DISPOSABLE NORMAL 12CT</c:v>
                  </c:pt>
                  <c:pt idx="4">
                    <c:v>EQUATE SPEED 3 SENSITIVE GREEN 3 BLADE DISPOSABLE SENSITIVE 4CT</c:v>
                  </c:pt>
                  <c:pt idx="5">
                    <c:v>EQUATE TB (TWIN BLADE) BLUE 2 BLADE DISPOSABLE NORMAL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A11E4F0-7991-434A-9343-42A9D7218A2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F5C12E-9EC1-4CCC-A953-21FC4921D33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E41F2FC-0C3A-4BE9-A339-73F07766F89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71A2FD7-0A34-41EB-A562-E0F6A3114D6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34381CC-12BD-46F4-877C-8010A6D590F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B9A3EC3-8D04-41FB-A243-A3B888C914D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11C8BAE-0D4B-41B6-AEA1-D753C9C9004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40000000000002</c:v>
                </c:pt>
                <c:pt idx="1">
                  <c:v>0.34549999999999997</c:v>
                </c:pt>
                <c:pt idx="2">
                  <c:v>0.36980000000000002</c:v>
                </c:pt>
                <c:pt idx="3">
                  <c:v>0.31850000000000001</c:v>
                </c:pt>
                <c:pt idx="4">
                  <c:v>0.29449999999999998</c:v>
                </c:pt>
                <c:pt idx="5">
                  <c:v>0.36049999999999999</c:v>
                </c:pt>
                <c:pt idx="6">
                  <c:v>0.35099999999999998</c:v>
                </c:pt>
                <c:pt idx="7">
                  <c:v>0.34889999999999999</c:v>
                </c:pt>
              </c:numCache>
            </c:numRef>
          </c:xVal>
          <c:yVal>
            <c:numRef>
              <c:f>Sheet1!$B$2:$B$9</c:f>
              <c:numCache>
                <c:formatCode>General</c:formatCode>
                <c:ptCount val="8"/>
                <c:pt idx="0">
                  <c:v>12997.022988505751</c:v>
                </c:pt>
                <c:pt idx="1">
                  <c:v>6147.757575757576</c:v>
                </c:pt>
                <c:pt idx="2">
                  <c:v>36195.333333333343</c:v>
                </c:pt>
                <c:pt idx="3">
                  <c:v>5750.2906976744189</c:v>
                </c:pt>
                <c:pt idx="4">
                  <c:v>42870.586206896551</c:v>
                </c:pt>
                <c:pt idx="5">
                  <c:v>36036.28767123288</c:v>
                </c:pt>
                <c:pt idx="6">
                  <c:v>44077.368421052633</c:v>
                </c:pt>
                <c:pt idx="7">
                  <c:v>5099.131868131868</c:v>
                </c:pt>
              </c:numCache>
            </c:numRef>
          </c:yVal>
          <c:bubbleSize>
            <c:numRef>
              <c:f>Sheet1!$C$2:$C$9</c:f>
              <c:numCache>
                <c:formatCode>General</c:formatCode>
                <c:ptCount val="8"/>
                <c:pt idx="0">
                  <c:v>836275.50839999993</c:v>
                </c:pt>
                <c:pt idx="1">
                  <c:v>265583.51819999999</c:v>
                </c:pt>
                <c:pt idx="2">
                  <c:v>2189858.2104000002</c:v>
                </c:pt>
                <c:pt idx="3">
                  <c:v>336996.18599999999</c:v>
                </c:pt>
                <c:pt idx="4">
                  <c:v>2631441.1776000001</c:v>
                </c:pt>
                <c:pt idx="5">
                  <c:v>1682330.8056999999</c:v>
                </c:pt>
                <c:pt idx="6">
                  <c:v>2717686.2453999999</c:v>
                </c:pt>
                <c:pt idx="7">
                  <c:v>302112.82919999998</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SCHICK XTREME 3 SENSITIVE GREEN BLACK 3 BLADE DISPOSABLE SENSITIVE 12CT</c:v>
                  </c:pt>
                  <c:pt idx="2">
                    <c:v>SCHICK XTREME 3 SENSITIVE BLACK 3 BLADE DISPOSABLE SENSITIVE 4CT</c:v>
                  </c:pt>
                  <c:pt idx="3">
                    <c:v>SCHICK XTREME 3 SENSITIVE GREEN BLACK 3 BLADE DISPOSABLE SENSITIVE 8CT</c:v>
                  </c:pt>
                  <c:pt idx="4">
                    <c:v>SCHICK XTREME 3 SENSITIVE GREEN 3 BLADE DISPOSABLE SENSITIVE 8CT</c:v>
                  </c:pt>
                  <c:pt idx="5">
                    <c:v>SCHICK XTREME 3 SENSITIVE BLACK GREEN 3 BLADE DISPOSABLE SENSITIVE 12CT</c:v>
                  </c:pt>
                  <c:pt idx="6">
                    <c:v>SCHICK XTREME 2 SENSITIVE 2 BLADE DISPOSABLE NORMAL 12CT</c:v>
                  </c:pt>
                  <c:pt idx="7">
                    <c:v>SCHICK XTREME 3 SENSITIVE GREEN BLACK 3 BLADE DISPOSABLE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479E3A4-CDEB-4B33-8684-1C5F06D83F6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551EA52-EC56-4049-AF4A-3C4B1604185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8EA1392-D853-445D-9B4B-BF3D8519FA1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58A260C-605F-477D-BF94-32C340911A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C6AD5D0-A34A-4EAD-843B-8424B6C778F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55C7A14-D33B-4AFA-997F-AE28DC96DC9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BF0146B-D912-4F95-B95C-AB073EDC4D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30000000000001</c:v>
                </c:pt>
                <c:pt idx="1">
                  <c:v>0.44669999999999999</c:v>
                </c:pt>
                <c:pt idx="2">
                  <c:v>0.44779999999999998</c:v>
                </c:pt>
                <c:pt idx="3">
                  <c:v>0.4032</c:v>
                </c:pt>
                <c:pt idx="4">
                  <c:v>0.54710000000000003</c:v>
                </c:pt>
                <c:pt idx="5">
                  <c:v>0.29770000000000002</c:v>
                </c:pt>
              </c:numCache>
            </c:numRef>
          </c:xVal>
          <c:yVal>
            <c:numRef>
              <c:f>Sheet1!$B$2:$B$7</c:f>
              <c:numCache>
                <c:formatCode>General</c:formatCode>
                <c:ptCount val="6"/>
                <c:pt idx="0">
                  <c:v>76941.121212121216</c:v>
                </c:pt>
                <c:pt idx="1">
                  <c:v>29486.863157894739</c:v>
                </c:pt>
                <c:pt idx="2">
                  <c:v>33695.247311827959</c:v>
                </c:pt>
                <c:pt idx="3">
                  <c:v>32799.737373737371</c:v>
                </c:pt>
                <c:pt idx="4">
                  <c:v>32042.247422680412</c:v>
                </c:pt>
                <c:pt idx="5">
                  <c:v>14956.693877551021</c:v>
                </c:pt>
              </c:numCache>
            </c:numRef>
          </c:yVal>
          <c:bubbleSize>
            <c:numRef>
              <c:f>Sheet1!$C$2:$C$7</c:f>
              <c:numCache>
                <c:formatCode>General</c:formatCode>
                <c:ptCount val="6"/>
                <c:pt idx="0">
                  <c:v>3936071.3594</c:v>
                </c:pt>
                <c:pt idx="1">
                  <c:v>1549808.4678</c:v>
                </c:pt>
                <c:pt idx="2">
                  <c:v>1730514.1758999999</c:v>
                </c:pt>
                <c:pt idx="3">
                  <c:v>1937934.2557999999</c:v>
                </c:pt>
                <c:pt idx="4">
                  <c:v>1407622.4701</c:v>
                </c:pt>
                <c:pt idx="5">
                  <c:v>1029392.1368</c:v>
                </c:pt>
              </c:numCache>
            </c:numRef>
          </c:bubbleSize>
          <c:bubble3D val="0"/>
          <c:extLst>
            <c:ext xmlns:c15="http://schemas.microsoft.com/office/drawing/2012/chart" uri="{02D57815-91ED-43cb-92C2-25804820EDAC}">
              <c15:datalabelsRange>
                <c15:f>Sheet1!$E$2:$E$50</c15:f>
                <c15:dlblRangeCache>
                  <c:ptCount val="49"/>
                  <c:pt idx="0">
                    <c:v>EQUATE CALIBER 5 5 BLADE DISPOSABLE NORMAL 3CT</c:v>
                  </c:pt>
                  <c:pt idx="1">
                    <c:v>EQUATE CALIBER 3 3 BLADE DISPOSABLE NORMAL 3CT</c:v>
                  </c:pt>
                  <c:pt idx="2">
                    <c:v>EQUATE SPEED 3 SENSITIVE GREEN 3 BLADE DISPOSABLE SENSITIVE 8CT</c:v>
                  </c:pt>
                  <c:pt idx="3">
                    <c:v>EQUATE TB (TWIN BLADE) BLUE 2 BLADE DISPOSABLE NORMAL 12CT</c:v>
                  </c:pt>
                  <c:pt idx="4">
                    <c:v>EQUATE SPEED 3 SENSITIVE GREEN 3 BLADE DISPOSABLE SENSITIVE 4CT</c:v>
                  </c:pt>
                  <c:pt idx="5">
                    <c:v>EQUATE TB (TWIN BLADE) BLUE 2 BLADE DISPOSABLE NORMAL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6F63155-44AD-4608-9122-69D8B0EAD6F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6C36266-9B7B-4A65-8B1C-029CCDDF430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F04C181-9640-49FF-A386-112053C4FF4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235C44D-4018-496F-B4D4-6E6BB224425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17EAC16-4504-40A4-B2E2-40F9AC90AD7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C3F5AA6-9054-45EB-976A-AAAC2F45435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48C0264-BF8A-4B51-9AF4-BCAFC69B784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68310000000000004</c:v>
                </c:pt>
                <c:pt idx="1">
                  <c:v>0.223</c:v>
                </c:pt>
                <c:pt idx="2">
                  <c:v>0.2203</c:v>
                </c:pt>
                <c:pt idx="3">
                  <c:v>0.36749999999999999</c:v>
                </c:pt>
                <c:pt idx="4">
                  <c:v>0.28089999999999998</c:v>
                </c:pt>
                <c:pt idx="5">
                  <c:v>-1.6975</c:v>
                </c:pt>
                <c:pt idx="6">
                  <c:v>-0.67210000000000003</c:v>
                </c:pt>
                <c:pt idx="7">
                  <c:v>0.32100000000000001</c:v>
                </c:pt>
                <c:pt idx="8">
                  <c:v>0.39179999999999998</c:v>
                </c:pt>
              </c:numCache>
            </c:numRef>
          </c:xVal>
          <c:yVal>
            <c:numRef>
              <c:f>Sheet1!$B$2:$B$10</c:f>
              <c:numCache>
                <c:formatCode>General</c:formatCode>
                <c:ptCount val="9"/>
                <c:pt idx="0">
                  <c:v>1754</c:v>
                </c:pt>
                <c:pt idx="1">
                  <c:v>17159.559193954661</c:v>
                </c:pt>
                <c:pt idx="2">
                  <c:v>75823.496659242766</c:v>
                </c:pt>
                <c:pt idx="3">
                  <c:v>21416.964285714279</c:v>
                </c:pt>
                <c:pt idx="4">
                  <c:v>21518.936170212761</c:v>
                </c:pt>
                <c:pt idx="5">
                  <c:v>897.77777777777783</c:v>
                </c:pt>
                <c:pt idx="6">
                  <c:v>5644</c:v>
                </c:pt>
                <c:pt idx="7">
                  <c:v>68443.006369426745</c:v>
                </c:pt>
                <c:pt idx="8">
                  <c:v>48994.894366197179</c:v>
                </c:pt>
              </c:numCache>
            </c:numRef>
          </c:yVal>
          <c:bubbleSize>
            <c:numRef>
              <c:f>Sheet1!$C$2:$C$10</c:f>
              <c:numCache>
                <c:formatCode>General</c:formatCode>
                <c:ptCount val="9"/>
                <c:pt idx="0">
                  <c:v>2502.7807999999991</c:v>
                </c:pt>
                <c:pt idx="1">
                  <c:v>1058631.9765999999</c:v>
                </c:pt>
                <c:pt idx="2">
                  <c:v>2654418.0469</c:v>
                </c:pt>
                <c:pt idx="3">
                  <c:v>75862.375199999995</c:v>
                </c:pt>
                <c:pt idx="4">
                  <c:v>72733.447800000009</c:v>
                </c:pt>
                <c:pt idx="5">
                  <c:v>1764.1728000000001</c:v>
                </c:pt>
                <c:pt idx="6">
                  <c:v>8139.9551999999994</c:v>
                </c:pt>
                <c:pt idx="7">
                  <c:v>3648181.7445999999</c:v>
                </c:pt>
                <c:pt idx="8">
                  <c:v>2538781.9904</c:v>
                </c:pt>
              </c:numCache>
            </c:numRef>
          </c:bubbleSize>
          <c:bubble3D val="0"/>
          <c:extLst>
            <c:ext xmlns:c15="http://schemas.microsoft.com/office/drawing/2012/chart" uri="{02D57815-91ED-43cb-92C2-25804820EDAC}">
              <c15:datalabelsRange>
                <c15:f>Sheet1!$E$2:$E$50</c15:f>
                <c15:dlblRangeCache>
                  <c:ptCount val="49"/>
                  <c:pt idx="0">
                    <c:v>HYDRO 5 SENSITIVE 5 BLADE RAZOR SENSITIVE 2CT</c:v>
                  </c:pt>
                  <c:pt idx="1">
                    <c:v>HYDRO 5 SENSITIVE GRAY HOLIDAY GIFT PACK 5 BLADE RAZOR SENSITIVE 3CT</c:v>
                  </c:pt>
                  <c:pt idx="2">
                    <c:v>HYDRO 5 SENSITIVE 5 BLADE REFILL SENSITIVE 12CT</c:v>
                  </c:pt>
                  <c:pt idx="3">
                    <c:v>SCHICK HYDRO 3 SENSITIVE 3 BLADE RAZOR SENSITIVE 4CT</c:v>
                  </c:pt>
                  <c:pt idx="4">
                    <c:v>SCHICK HYDRO 3 SENSITIVE 3 BLADE REFILL SENSITIVE 5CT</c:v>
                  </c:pt>
                  <c:pt idx="5">
                    <c:v>HYDRO 5 DRY SKIN 5 BLADE REFILL NORMAL 4CT</c:v>
                  </c:pt>
                  <c:pt idx="6">
                    <c:v>HYDRO 5 SENSITIVE 5 BLADE REFILL SENSITIVE 4CT</c:v>
                  </c:pt>
                  <c:pt idx="7">
                    <c:v>HYDRO 5 SENSITIVE 5 BLADE REFILL SENSITIVE 6CT</c:v>
                  </c:pt>
                  <c:pt idx="8">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A5EF329-3D82-40EF-A7A7-B5F414AE796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31682B2-452D-4E2A-B830-D382572CBF3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002594DE-A19D-45F3-9865-02E71E056A7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3A11C46-99CB-494E-AF40-BA363FDA2C0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4F171D3-B733-4FF1-8778-652D49B13B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7515677-4CCE-4373-9DF3-0E8F0BAAF46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FF3BCE1-785F-485A-8548-2509EECCB86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4560000000000002</c:v>
                </c:pt>
                <c:pt idx="1">
                  <c:v>0.36680000000000001</c:v>
                </c:pt>
              </c:numCache>
            </c:numRef>
          </c:xVal>
          <c:yVal>
            <c:numRef>
              <c:f>Sheet1!$B$2:$B$3</c:f>
              <c:numCache>
                <c:formatCode>General</c:formatCode>
                <c:ptCount val="2"/>
                <c:pt idx="0">
                  <c:v>6750.3125</c:v>
                </c:pt>
                <c:pt idx="1">
                  <c:v>7625.1282051282042</c:v>
                </c:pt>
              </c:numCache>
            </c:numRef>
          </c:yVal>
          <c:bubbleSize>
            <c:numRef>
              <c:f>Sheet1!$C$2:$C$3</c:f>
              <c:numCache>
                <c:formatCode>General</c:formatCode>
                <c:ptCount val="2"/>
                <c:pt idx="0">
                  <c:v>28272.369699999999</c:v>
                </c:pt>
                <c:pt idx="1">
                  <c:v>56493.237800000003</c:v>
                </c:pt>
              </c:numCache>
            </c:numRef>
          </c:bubbleSize>
          <c:bubble3D val="0"/>
          <c:extLst>
            <c:ext xmlns:c15="http://schemas.microsoft.com/office/drawing/2012/chart" uri="{02D57815-91ED-43cb-92C2-25804820EDAC}">
              <c15:datalabelsRange>
                <c15:f>Sheet1!$E$2:$E$50</c15:f>
                <c15:dlblRangeCache>
                  <c:ptCount val="49"/>
                  <c:pt idx="0">
                    <c:v>CREMO 5 BLADE REFILL NORMAL 4CT</c:v>
                  </c:pt>
                  <c:pt idx="1">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7F46A66-6CDA-4A98-9897-953C68A01F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827CC3-144F-44AA-8B95-884703FA076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D709B4B-C6D5-4204-B4AC-7766C66730C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7C78593-ED2F-4708-B987-CCF1336D417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BB273EE-4AB7-42E8-AF17-B19AA19B1D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197631-95AC-46AE-81FE-3989F1A4F95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E43F9B2-4AEA-44C5-8F11-78995F91434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884</c:v>
                </c:pt>
                <c:pt idx="1">
                  <c:v>-0.40510000000000002</c:v>
                </c:pt>
                <c:pt idx="2">
                  <c:v>0.3987</c:v>
                </c:pt>
                <c:pt idx="3">
                  <c:v>0.40289999999999998</c:v>
                </c:pt>
                <c:pt idx="4">
                  <c:v>0.43</c:v>
                </c:pt>
              </c:numCache>
            </c:numRef>
          </c:xVal>
          <c:yVal>
            <c:numRef>
              <c:f>Sheet1!$B$2:$B$6</c:f>
              <c:numCache>
                <c:formatCode>General</c:formatCode>
                <c:ptCount val="5"/>
                <c:pt idx="0">
                  <c:v>31615.11318242344</c:v>
                </c:pt>
                <c:pt idx="1">
                  <c:v>779</c:v>
                </c:pt>
                <c:pt idx="2">
                  <c:v>10233.43976777939</c:v>
                </c:pt>
                <c:pt idx="3">
                  <c:v>38536.181506849323</c:v>
                </c:pt>
                <c:pt idx="4">
                  <c:v>54222.520710059172</c:v>
                </c:pt>
              </c:numCache>
            </c:numRef>
          </c:yVal>
          <c:bubbleSize>
            <c:numRef>
              <c:f>Sheet1!$C$2:$C$6</c:f>
              <c:numCache>
                <c:formatCode>General</c:formatCode>
                <c:ptCount val="5"/>
                <c:pt idx="0">
                  <c:v>1214691.3791</c:v>
                </c:pt>
                <c:pt idx="1">
                  <c:v>1094.5673999999999</c:v>
                </c:pt>
                <c:pt idx="2">
                  <c:v>423999.08850000001</c:v>
                </c:pt>
                <c:pt idx="3">
                  <c:v>1343734.6551000001</c:v>
                </c:pt>
                <c:pt idx="4">
                  <c:v>2611438.9335999992</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pt idx="1">
                    <c:v>EQUATE CALIBER 5 5 BLADE REFILL NORMAL 4CT</c:v>
                  </c:pt>
                  <c:pt idx="2">
                    <c:v>EQUATE EASY FIT 5 5 BLADE REFILL NORMAL 12CT</c:v>
                  </c:pt>
                  <c:pt idx="3">
                    <c:v>EQUATE EASY FIT 5 5 BLADE REFILL NORMAL 8CT</c:v>
                  </c:pt>
                  <c:pt idx="4">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CE68D1E-DA09-4434-923A-7E358428136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8B5ACFA-F082-41FC-8E5A-E30255F169C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23AC53-7D39-477F-937E-7A5F0A4CB20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49785CB-5BD5-400C-B252-FA9D9C4219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13A1BCB-8EA5-40FA-8A7F-2F85F0261F7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B6E6075-27F9-4187-ADF3-40C2AF7DD4F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94DA282-C106-476B-9E8B-00B4E1E71F6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2485</c:v>
                </c:pt>
                <c:pt idx="1">
                  <c:v>-0.91049999999999998</c:v>
                </c:pt>
                <c:pt idx="2">
                  <c:v>0.32050000000000001</c:v>
                </c:pt>
                <c:pt idx="3">
                  <c:v>0.39190000000000003</c:v>
                </c:pt>
              </c:numCache>
            </c:numRef>
          </c:xVal>
          <c:yVal>
            <c:numRef>
              <c:f>Sheet1!$B$2:$B$5</c:f>
              <c:numCache>
                <c:formatCode>General</c:formatCode>
                <c:ptCount val="4"/>
                <c:pt idx="0">
                  <c:v>914</c:v>
                </c:pt>
                <c:pt idx="1">
                  <c:v>839</c:v>
                </c:pt>
                <c:pt idx="2">
                  <c:v>7307.5535714285706</c:v>
                </c:pt>
                <c:pt idx="3">
                  <c:v>4743.377049180328</c:v>
                </c:pt>
              </c:numCache>
            </c:numRef>
          </c:yVal>
          <c:bubbleSize>
            <c:numRef>
              <c:f>Sheet1!$C$2:$C$5</c:f>
              <c:numCache>
                <c:formatCode>General</c:formatCode>
                <c:ptCount val="4"/>
                <c:pt idx="0">
                  <c:v>1141.1116</c:v>
                </c:pt>
                <c:pt idx="1">
                  <c:v>1341.184</c:v>
                </c:pt>
                <c:pt idx="2">
                  <c:v>278077.10879999999</c:v>
                </c:pt>
                <c:pt idx="3">
                  <c:v>175947.76449999999</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12CT</c:v>
                  </c:pt>
                  <c:pt idx="1">
                    <c:v>HYDRO 5 SENSITIVE 5 BLADE REFILL SENSITIVE 4CT</c:v>
                  </c:pt>
                  <c:pt idx="2">
                    <c:v>HYDRO 5 SENSITIVE 5 BLADE REFILL SENSITIVE 6CT</c:v>
                  </c:pt>
                  <c:pt idx="3">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9B6ABAC-3AB4-4B7B-859F-C2158CA99DF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18AAC6-C7EE-4699-A19E-B959F6EEE88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A90BBB-126F-4647-83D1-836429D8167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C9661D5-8E8F-4613-82A1-2B3D713F4B6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201E7CA-4C68-46F7-A1D1-4B28A186F72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AEA836F-4EFF-4789-A00C-35999B3E962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8E34EDC-CDE2-43CA-93F3-9799C370FAD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80000000000001</c:v>
                </c:pt>
                <c:pt idx="1">
                  <c:v>0.39889999999999998</c:v>
                </c:pt>
                <c:pt idx="2">
                  <c:v>0.35830000000000001</c:v>
                </c:pt>
                <c:pt idx="3">
                  <c:v>0.43030000000000002</c:v>
                </c:pt>
              </c:numCache>
            </c:numRef>
          </c:xVal>
          <c:yVal>
            <c:numRef>
              <c:f>Sheet1!$B$2:$B$5</c:f>
              <c:numCache>
                <c:formatCode>General</c:formatCode>
                <c:ptCount val="4"/>
                <c:pt idx="0">
                  <c:v>3302.6981132075471</c:v>
                </c:pt>
                <c:pt idx="1">
                  <c:v>1148.3170731707321</c:v>
                </c:pt>
                <c:pt idx="2">
                  <c:v>3361.8</c:v>
                </c:pt>
                <c:pt idx="3">
                  <c:v>4936.0153846153844</c:v>
                </c:pt>
              </c:numCache>
            </c:numRef>
          </c:yVal>
          <c:bubbleSize>
            <c:numRef>
              <c:f>Sheet1!$C$2:$C$5</c:f>
              <c:numCache>
                <c:formatCode>General</c:formatCode>
                <c:ptCount val="4"/>
                <c:pt idx="0">
                  <c:v>89489.170399999974</c:v>
                </c:pt>
                <c:pt idx="1">
                  <c:v>28301.748800000001</c:v>
                </c:pt>
                <c:pt idx="2">
                  <c:v>86297.400299999994</c:v>
                </c:pt>
                <c:pt idx="3">
                  <c:v>182797.47649999999</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pt idx="1">
                    <c:v>EQUATE EASY FIT 5 5 BLADE REFILL NORMAL 1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064FB99-3F4B-4213-9896-4567BABB446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F1451B3-423C-4DEB-AFE5-E7E27630475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59EE71B-5B3C-455B-A031-54F61912C2B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E1C5BE5-99BC-4F54-82EC-F6B5BADFDFD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7D52CA4-F90D-4103-B8CB-BAE232682FB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83C927-E2E7-456A-AB37-912E390F4AC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8A00D3E-D1C6-4FF8-B40F-94601025DCE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29170000000000001</c:v>
                </c:pt>
                <c:pt idx="1">
                  <c:v>0.21940000000000001</c:v>
                </c:pt>
                <c:pt idx="2">
                  <c:v>0.35849999999999999</c:v>
                </c:pt>
                <c:pt idx="3">
                  <c:v>0.20269999999999999</c:v>
                </c:pt>
                <c:pt idx="4">
                  <c:v>0.32069999999999999</c:v>
                </c:pt>
                <c:pt idx="5">
                  <c:v>0.39179999999999998</c:v>
                </c:pt>
              </c:numCache>
            </c:numRef>
          </c:xVal>
          <c:yVal>
            <c:numRef>
              <c:f>Sheet1!$B$2:$B$7</c:f>
              <c:numCache>
                <c:formatCode>General</c:formatCode>
                <c:ptCount val="6"/>
                <c:pt idx="0">
                  <c:v>1094.75</c:v>
                </c:pt>
                <c:pt idx="1">
                  <c:v>5275.4193548387093</c:v>
                </c:pt>
                <c:pt idx="2">
                  <c:v>999.2</c:v>
                </c:pt>
                <c:pt idx="3">
                  <c:v>1055.75</c:v>
                </c:pt>
                <c:pt idx="4">
                  <c:v>4560.0253164556962</c:v>
                </c:pt>
                <c:pt idx="5">
                  <c:v>3435.0481927710839</c:v>
                </c:pt>
              </c:numCache>
            </c:numRef>
          </c:yVal>
          <c:bubbleSize>
            <c:numRef>
              <c:f>Sheet1!$C$2:$C$7</c:f>
              <c:numCache>
                <c:formatCode>General</c:formatCode>
                <c:ptCount val="6"/>
                <c:pt idx="0">
                  <c:v>3101.6833000000001</c:v>
                </c:pt>
                <c:pt idx="1">
                  <c:v>127660.91680000001</c:v>
                </c:pt>
                <c:pt idx="2">
                  <c:v>3205.0187999999998</c:v>
                </c:pt>
                <c:pt idx="3">
                  <c:v>3367.1781000000001</c:v>
                </c:pt>
                <c:pt idx="4">
                  <c:v>244698.5876</c:v>
                </c:pt>
                <c:pt idx="5">
                  <c:v>173389.4657</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EFILL SENSITIVE 12CT</c:v>
                  </c:pt>
                  <c:pt idx="2">
                    <c:v>SCHICK HYDRO 3 SENSITIVE 3 BLADE RAZOR SENSITIVE 4CT</c:v>
                  </c:pt>
                  <c:pt idx="3">
                    <c:v>SCHICK HYDRO 3 SENSITIVE 3 BLADE REFILL SENSITIVE 5CT</c:v>
                  </c:pt>
                  <c:pt idx="4">
                    <c:v>HYDRO 5 SENSITIVE 5 BLADE REFILL SENSITIVE 6CT</c:v>
                  </c:pt>
                  <c:pt idx="5">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Cremo</c:v>
                </c:pt>
                <c:pt idx="2">
                  <c:v>Others</c:v>
                </c:pt>
              </c:strCache>
            </c:strRef>
          </c:cat>
          <c:val>
            <c:numRef>
              <c:f>Sheet1!$B$2:$B$4</c:f>
              <c:numCache>
                <c:formatCode>General</c:formatCode>
                <c:ptCount val="3"/>
                <c:pt idx="0">
                  <c:v>0.99999345956864738</c:v>
                </c:pt>
                <c:pt idx="1">
                  <c:v>4.4750319781444827E-6</c:v>
                </c:pt>
                <c:pt idx="2">
                  <c:v>2.0653993745282227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Cremo</c:v>
                </c:pt>
                <c:pt idx="2">
                  <c:v>Others</c:v>
                </c:pt>
              </c:strCache>
            </c:strRef>
          </c:cat>
          <c:val>
            <c:numRef>
              <c:f>Sheet1!$C$2:$C$4</c:f>
              <c:numCache>
                <c:formatCode>General</c:formatCode>
                <c:ptCount val="3"/>
                <c:pt idx="0">
                  <c:v>0.99439252336448591</c:v>
                </c:pt>
                <c:pt idx="1">
                  <c:v>1.869158878504673E-3</c:v>
                </c:pt>
                <c:pt idx="2">
                  <c:v>3.7383177570093459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Cremo</c:v>
                </c:pt>
                <c:pt idx="2">
                  <c:v>Others</c:v>
                </c:pt>
              </c:strCache>
            </c:strRef>
          </c:cat>
          <c:val>
            <c:numRef>
              <c:f>Sheet1!$D$2:$D$4</c:f>
              <c:numCache>
                <c:formatCode>General</c:formatCode>
                <c:ptCount val="3"/>
                <c:pt idx="0">
                  <c:v>99.439902716306023</c:v>
                </c:pt>
                <c:pt idx="1">
                  <c:v>41768.615009533336</c:v>
                </c:pt>
                <c:pt idx="2">
                  <c:v>180997.3317079778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7523291-C377-400E-90FE-93E1070EEA9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4E22462E-F088-4982-8547-6B191036552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EB8BAF0-0A7B-4790-BC0B-5C7D9805AAE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0194E0B-FFC0-4EC3-842F-BF7AB15C90B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A0E6DCC-E1BA-412A-99B2-1CD3558E80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0A81A14-D69F-4E0E-87CA-4609CB068EB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7FB3EC1-1066-4315-92C4-015C699C871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09999999999999</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A9B109A-0E9D-4506-A0A3-F52CFA10F0D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4AC4BB6-9254-4CC0-8110-29D61C103D3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60DEFC7-E10A-47A6-9C4D-9F9238CBD6F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62BE01A-1FC4-425F-B8AE-E45A030A4E8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1A9BFB3-5B3E-4DB8-9A1F-D958AF08881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29DB61E-E566-4D49-9862-8B0F78D6C71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9BBF973-0271-4FB9-BC69-A72A60B8FC7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749999999999999</c:v>
                </c:pt>
                <c:pt idx="1">
                  <c:v>0.39739999999999998</c:v>
                </c:pt>
                <c:pt idx="2">
                  <c:v>0.39600000000000002</c:v>
                </c:pt>
                <c:pt idx="3">
                  <c:v>0.42920000000000003</c:v>
                </c:pt>
              </c:numCache>
            </c:numRef>
          </c:xVal>
          <c:yVal>
            <c:numRef>
              <c:f>Sheet1!$B$2:$B$5</c:f>
              <c:numCache>
                <c:formatCode>General</c:formatCode>
                <c:ptCount val="4"/>
                <c:pt idx="0">
                  <c:v>2192.542857142857</c:v>
                </c:pt>
                <c:pt idx="1">
                  <c:v>745.05970149253733</c:v>
                </c:pt>
                <c:pt idx="2">
                  <c:v>2624.6851851851852</c:v>
                </c:pt>
                <c:pt idx="3">
                  <c:v>3421.4096385542171</c:v>
                </c:pt>
              </c:numCache>
            </c:numRef>
          </c:yVal>
          <c:bubbleSize>
            <c:numRef>
              <c:f>Sheet1!$C$2:$C$5</c:f>
              <c:numCache>
                <c:formatCode>General</c:formatCode>
                <c:ptCount val="4"/>
                <c:pt idx="0">
                  <c:v>78650.092899999989</c:v>
                </c:pt>
                <c:pt idx="1">
                  <c:v>30082.322400000001</c:v>
                </c:pt>
                <c:pt idx="2">
                  <c:v>85603.147900000011</c:v>
                </c:pt>
                <c:pt idx="3">
                  <c:v>162101.8536</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pt idx="1">
                    <c:v>EQUATE EASY FIT 5 5 BLADE REFILL NORMAL 1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B78F9CA-83C5-424A-AC3F-B1ED21B21CA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C6896B-477F-4EBA-9575-5903AE6BA6F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2387B34-A578-4D27-BFBB-CB201B2B81B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6A8F62B-8D9D-415E-8400-B648F88943F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3CEA390-2B57-45A0-A098-F2D01EEFE91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3E5F0A9-6D33-4413-A318-033C03167C7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70FF6CB-9901-4921-B0C1-0267468EB4F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6583</c:v>
                </c:pt>
                <c:pt idx="1">
                  <c:v>0.2228</c:v>
                </c:pt>
                <c:pt idx="2">
                  <c:v>0.2205</c:v>
                </c:pt>
                <c:pt idx="3">
                  <c:v>0.3679</c:v>
                </c:pt>
                <c:pt idx="4">
                  <c:v>0.2843</c:v>
                </c:pt>
                <c:pt idx="5">
                  <c:v>-1.6830000000000001</c:v>
                </c:pt>
                <c:pt idx="6">
                  <c:v>-0.64170000000000005</c:v>
                </c:pt>
                <c:pt idx="7">
                  <c:v>0.3211</c:v>
                </c:pt>
                <c:pt idx="8">
                  <c:v>0.39179999999999998</c:v>
                </c:pt>
              </c:numCache>
            </c:numRef>
          </c:xVal>
          <c:yVal>
            <c:numRef>
              <c:f>Sheet1!$B$2:$B$10</c:f>
              <c:numCache>
                <c:formatCode>General</c:formatCode>
                <c:ptCount val="9"/>
                <c:pt idx="0">
                  <c:v>1414</c:v>
                </c:pt>
                <c:pt idx="1">
                  <c:v>14923.912087912089</c:v>
                </c:pt>
                <c:pt idx="2">
                  <c:v>66122.918367346938</c:v>
                </c:pt>
                <c:pt idx="3">
                  <c:v>19149.166666666672</c:v>
                </c:pt>
                <c:pt idx="4">
                  <c:v>19381.2</c:v>
                </c:pt>
                <c:pt idx="5">
                  <c:v>789</c:v>
                </c:pt>
                <c:pt idx="6">
                  <c:v>4359</c:v>
                </c:pt>
                <c:pt idx="7">
                  <c:v>57541.387499999997</c:v>
                </c:pt>
                <c:pt idx="8">
                  <c:v>41378.275862068956</c:v>
                </c:pt>
              </c:numCache>
            </c:numRef>
          </c:yVal>
          <c:bubbleSize>
            <c:numRef>
              <c:f>Sheet1!$C$2:$C$10</c:f>
              <c:numCache>
                <c:formatCode>General</c:formatCode>
                <c:ptCount val="9"/>
                <c:pt idx="0">
                  <c:v>2069.6071999999999</c:v>
                </c:pt>
                <c:pt idx="1">
                  <c:v>1055523.5941999999</c:v>
                </c:pt>
                <c:pt idx="2">
                  <c:v>2525616.0184999998</c:v>
                </c:pt>
                <c:pt idx="3">
                  <c:v>72621.147599999997</c:v>
                </c:pt>
                <c:pt idx="4">
                  <c:v>69360.267600000006</c:v>
                </c:pt>
                <c:pt idx="5">
                  <c:v>1733.2224000000001</c:v>
                </c:pt>
                <c:pt idx="6">
                  <c:v>6169.4463999999998</c:v>
                </c:pt>
                <c:pt idx="7">
                  <c:v>3125406.0482000001</c:v>
                </c:pt>
                <c:pt idx="8">
                  <c:v>2189444.7601999999</c:v>
                </c:pt>
              </c:numCache>
            </c:numRef>
          </c:bubbleSize>
          <c:bubble3D val="0"/>
          <c:extLst>
            <c:ext xmlns:c15="http://schemas.microsoft.com/office/drawing/2012/chart" uri="{02D57815-91ED-43cb-92C2-25804820EDAC}">
              <c15:datalabelsRange>
                <c15:f>Sheet1!$E$2:$E$50</c15:f>
                <c15:dlblRangeCache>
                  <c:ptCount val="49"/>
                  <c:pt idx="0">
                    <c:v>HYDRO 5 SENSITIVE 5 BLADE RAZOR SENSITIVE 2CT</c:v>
                  </c:pt>
                  <c:pt idx="1">
                    <c:v>HYDRO 5 SENSITIVE GRAY HOLIDAY GIFT PACK 5 BLADE RAZOR SENSITIVE 3CT</c:v>
                  </c:pt>
                  <c:pt idx="2">
                    <c:v>HYDRO 5 SENSITIVE 5 BLADE REFILL SENSITIVE 12CT</c:v>
                  </c:pt>
                  <c:pt idx="3">
                    <c:v>SCHICK HYDRO 3 SENSITIVE 3 BLADE RAZOR SENSITIVE 4CT</c:v>
                  </c:pt>
                  <c:pt idx="4">
                    <c:v>SCHICK HYDRO 3 SENSITIVE 3 BLADE REFILL SENSITIVE 5CT</c:v>
                  </c:pt>
                  <c:pt idx="5">
                    <c:v>HYDRO 5 DRY SKIN 5 BLADE REFILL NORMAL 4CT</c:v>
                  </c:pt>
                  <c:pt idx="6">
                    <c:v>HYDRO 5 SENSITIVE 5 BLADE REFILL SENSITIVE 4CT</c:v>
                  </c:pt>
                  <c:pt idx="7">
                    <c:v>HYDRO 5 SENSITIVE 5 BLADE REFILL SENSITIVE 6CT</c:v>
                  </c:pt>
                  <c:pt idx="8">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42528D3-5114-4D26-86B8-DBABC596500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B1F81BD-5256-4A60-AF88-0310B57CD53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6ECC051-A334-4C6D-94D4-8E9351BC82C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953D49C-A1B1-41D9-B853-3816A5A8F42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E303F78-D980-41B4-A1F1-ED91B615D8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F3992F-2E99-49C3-A61F-A3DE324A51A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3D96B71-D0F9-47BF-88AC-E8F17B21AE6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4639999999999999</c:v>
                </c:pt>
                <c:pt idx="1">
                  <c:v>0.36659999999999998</c:v>
                </c:pt>
              </c:numCache>
            </c:numRef>
          </c:xVal>
          <c:yVal>
            <c:numRef>
              <c:f>Sheet1!$B$2:$B$3</c:f>
              <c:numCache>
                <c:formatCode>General</c:formatCode>
                <c:ptCount val="2"/>
                <c:pt idx="0">
                  <c:v>5990.2857142857138</c:v>
                </c:pt>
                <c:pt idx="1">
                  <c:v>6680.8461538461543</c:v>
                </c:pt>
              </c:numCache>
            </c:numRef>
          </c:yVal>
          <c:bubbleSize>
            <c:numRef>
              <c:f>Sheet1!$C$2:$C$3</c:f>
              <c:numCache>
                <c:formatCode>General</c:formatCode>
                <c:ptCount val="2"/>
                <c:pt idx="0">
                  <c:v>27404.931199999999</c:v>
                </c:pt>
                <c:pt idx="1">
                  <c:v>55007.155300000013</c:v>
                </c:pt>
              </c:numCache>
            </c:numRef>
          </c:bubbleSize>
          <c:bubble3D val="0"/>
          <c:extLst>
            <c:ext xmlns:c15="http://schemas.microsoft.com/office/drawing/2012/chart" uri="{02D57815-91ED-43cb-92C2-25804820EDAC}">
              <c15:datalabelsRange>
                <c15:f>Sheet1!$E$2:$E$50</c15:f>
                <c15:dlblRangeCache>
                  <c:ptCount val="49"/>
                  <c:pt idx="0">
                    <c:v>CREMO 5 BLADE REFILL NORMAL 4CT</c:v>
                  </c:pt>
                  <c:pt idx="1">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30D9C62-AF56-4B8A-81DC-8759FE3F76F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19419F3-7EC3-406B-8CF3-51CA87C42F0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996EF77-B7D5-4062-98A4-7410660D9EF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683ACA8-82BB-480D-B7C2-71662DAA6EB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029275F-4DC5-446B-9250-3FBB7E44D79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BF6E680-CA70-466F-8A1A-DD170E772F0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1E30EA1-9845-4A44-B543-F2BFA04DDB1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4</c:v>
                </c:pt>
                <c:pt idx="1">
                  <c:v>0.3987</c:v>
                </c:pt>
                <c:pt idx="2">
                  <c:v>0.40649999999999997</c:v>
                </c:pt>
                <c:pt idx="3">
                  <c:v>0.43009999999999998</c:v>
                </c:pt>
              </c:numCache>
            </c:numRef>
          </c:xVal>
          <c:yVal>
            <c:numRef>
              <c:f>Sheet1!$B$2:$B$5</c:f>
              <c:numCache>
                <c:formatCode>General</c:formatCode>
                <c:ptCount val="4"/>
                <c:pt idx="0">
                  <c:v>26568.493506493509</c:v>
                </c:pt>
                <c:pt idx="1">
                  <c:v>8564.5633802816901</c:v>
                </c:pt>
                <c:pt idx="2">
                  <c:v>32905.133333333331</c:v>
                </c:pt>
                <c:pt idx="3">
                  <c:v>46244.011627906977</c:v>
                </c:pt>
              </c:numCache>
            </c:numRef>
          </c:yVal>
          <c:bubbleSize>
            <c:numRef>
              <c:f>Sheet1!$C$2:$C$5</c:f>
              <c:numCache>
                <c:formatCode>General</c:formatCode>
                <c:ptCount val="4"/>
                <c:pt idx="0">
                  <c:v>1046552.1158</c:v>
                </c:pt>
                <c:pt idx="1">
                  <c:v>365615.01729999989</c:v>
                </c:pt>
                <c:pt idx="2">
                  <c:v>1171834.1069</c:v>
                </c:pt>
                <c:pt idx="3">
                  <c:v>2266539.6035000002</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pt idx="1">
                    <c:v>EQUATE EASY FIT 5 5 BLADE REFILL NORMAL 1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6509D24-04A8-4F28-A08E-2C95E5EC25A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FB693A3-FF4F-44A6-B57A-D61FBD8EDB2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111837D-B451-4725-B54E-B1663D911C9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432C6F3-9762-4F57-A4ED-F1C2011BED3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AC09C62-20EC-44D8-934D-F4BA0704219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FE396F4-AC27-4794-9129-5CD4C204827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3A0757E-459D-477C-998C-E28F9F3982B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2203</c:v>
                </c:pt>
                <c:pt idx="1">
                  <c:v>0.28089999999999998</c:v>
                </c:pt>
                <c:pt idx="2">
                  <c:v>-1.6975</c:v>
                </c:pt>
                <c:pt idx="3">
                  <c:v>-0.67210000000000003</c:v>
                </c:pt>
                <c:pt idx="4">
                  <c:v>0.32100000000000001</c:v>
                </c:pt>
              </c:numCache>
            </c:numRef>
          </c:xVal>
          <c:yVal>
            <c:numRef>
              <c:f>Sheet1!$B$2:$B$6</c:f>
              <c:numCache>
                <c:formatCode>General</c:formatCode>
                <c:ptCount val="5"/>
                <c:pt idx="0">
                  <c:v>75823.496659242766</c:v>
                </c:pt>
                <c:pt idx="1">
                  <c:v>21518.936170212761</c:v>
                </c:pt>
                <c:pt idx="2">
                  <c:v>897.77777777777783</c:v>
                </c:pt>
                <c:pt idx="3">
                  <c:v>5644</c:v>
                </c:pt>
                <c:pt idx="4">
                  <c:v>68443.006369426745</c:v>
                </c:pt>
              </c:numCache>
            </c:numRef>
          </c:yVal>
          <c:bubbleSize>
            <c:numRef>
              <c:f>Sheet1!$C$2:$C$6</c:f>
              <c:numCache>
                <c:formatCode>General</c:formatCode>
                <c:ptCount val="5"/>
                <c:pt idx="0">
                  <c:v>2654418.0469</c:v>
                </c:pt>
                <c:pt idx="1">
                  <c:v>72733.447800000009</c:v>
                </c:pt>
                <c:pt idx="2">
                  <c:v>1764.1728000000001</c:v>
                </c:pt>
                <c:pt idx="3">
                  <c:v>8139.9551999999994</c:v>
                </c:pt>
                <c:pt idx="4">
                  <c:v>3648181.7445999999</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12CT</c:v>
                  </c:pt>
                  <c:pt idx="1">
                    <c:v>SCHICK HYDRO 3 SENSITIVE 3 BLADE REFILL SENSITIVE 5CT</c:v>
                  </c:pt>
                  <c:pt idx="2">
                    <c:v>HYDRO 5 DRY SKIN 5 BLADE REFILL NORMAL 4CT</c:v>
                  </c:pt>
                  <c:pt idx="3">
                    <c:v>HYDRO 5 SENSITIVE 5 BLADE REFILL SENSITIVE 4CT</c:v>
                  </c:pt>
                  <c:pt idx="4">
                    <c:v>HYDRO 5 SENSITIVE 5 BLADE REFILL SENSITIVE 6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7D82F3F-A18F-467C-B3C6-BD21FCDBED0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85E7A1C1-880C-4814-9BF7-FA6FAFFAEE9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3668F1B-0F4E-4E75-B72C-80F4D9A3A05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3D71B6-C35B-429C-8167-77DAFD58EE9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1C24FFF-F16F-4916-94D4-4F5567A3AC3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2340FDE-E6BE-4C6C-9D7E-5CA0746EEC2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A2F2FFB-726A-4F5C-8123-48889D16A2E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560000000000002</c:v>
                </c:pt>
              </c:numCache>
            </c:numRef>
          </c:xVal>
          <c:yVal>
            <c:numRef>
              <c:f>Sheet1!$B$2:$B$2</c:f>
              <c:numCache>
                <c:formatCode>General</c:formatCode>
                <c:ptCount val="1"/>
                <c:pt idx="0">
                  <c:v>6750.3125</c:v>
                </c:pt>
              </c:numCache>
            </c:numRef>
          </c:yVal>
          <c:bubbleSize>
            <c:numRef>
              <c:f>Sheet1!$C$2:$C$2</c:f>
              <c:numCache>
                <c:formatCode>General</c:formatCode>
                <c:ptCount val="1"/>
                <c:pt idx="0">
                  <c:v>28272.369699999999</c:v>
                </c:pt>
              </c:numCache>
            </c:numRef>
          </c:bubbleSize>
          <c:bubble3D val="0"/>
          <c:extLst>
            <c:ext xmlns:c15="http://schemas.microsoft.com/office/drawing/2012/chart" uri="{02D57815-91ED-43cb-92C2-25804820EDAC}">
              <c15:datalabelsRange>
                <c15:f>Sheet1!$E$2:$E$50</c15:f>
                <c15:dlblRangeCache>
                  <c:ptCount val="49"/>
                  <c:pt idx="0">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7005ED1-F876-470E-B56E-F501ED60054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ADA95BC-7AD7-4202-9B47-3DF4FA49081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BC090C2-C5DC-4F3C-8039-52B85886611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F00F6A5-D942-4C31-AA52-9BFF0579C6A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E7DDF59-9F99-4054-B928-3456C86BB5A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6D02E12-4ED5-4E50-8379-2F90A4B3075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E621D47-BC86-4215-8542-859C530890B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0510000000000002</c:v>
                </c:pt>
                <c:pt idx="1">
                  <c:v>0.3987</c:v>
                </c:pt>
                <c:pt idx="2">
                  <c:v>0.40289999999999998</c:v>
                </c:pt>
                <c:pt idx="3">
                  <c:v>0.43</c:v>
                </c:pt>
              </c:numCache>
            </c:numRef>
          </c:xVal>
          <c:yVal>
            <c:numRef>
              <c:f>Sheet1!$B$2:$B$5</c:f>
              <c:numCache>
                <c:formatCode>General</c:formatCode>
                <c:ptCount val="4"/>
                <c:pt idx="0">
                  <c:v>779</c:v>
                </c:pt>
                <c:pt idx="1">
                  <c:v>10233.43976777939</c:v>
                </c:pt>
                <c:pt idx="2">
                  <c:v>38536.181506849323</c:v>
                </c:pt>
                <c:pt idx="3">
                  <c:v>54222.520710059172</c:v>
                </c:pt>
              </c:numCache>
            </c:numRef>
          </c:yVal>
          <c:bubbleSize>
            <c:numRef>
              <c:f>Sheet1!$C$2:$C$5</c:f>
              <c:numCache>
                <c:formatCode>General</c:formatCode>
                <c:ptCount val="4"/>
                <c:pt idx="0">
                  <c:v>1094.5673999999999</c:v>
                </c:pt>
                <c:pt idx="1">
                  <c:v>423999.08850000001</c:v>
                </c:pt>
                <c:pt idx="2">
                  <c:v>1343734.6551000001</c:v>
                </c:pt>
                <c:pt idx="3">
                  <c:v>2611438.9335999992</c:v>
                </c:pt>
              </c:numCache>
            </c:numRef>
          </c:bubbleSize>
          <c:bubble3D val="0"/>
          <c:extLst>
            <c:ext xmlns:c15="http://schemas.microsoft.com/office/drawing/2012/chart" uri="{02D57815-91ED-43cb-92C2-25804820EDAC}">
              <c15:datalabelsRange>
                <c15:f>Sheet1!$E$2:$E$50</c15:f>
                <c15:dlblRangeCache>
                  <c:ptCount val="49"/>
                  <c:pt idx="0">
                    <c:v>EQUATE CALIBER 5 5 BLADE REFILL NORMAL 4CT</c:v>
                  </c:pt>
                  <c:pt idx="1">
                    <c:v>EQUATE EASY FIT 5 5 BLADE REFILL NORMAL 1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8B439A2-7520-4489-92EA-BEB27C48878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F786033-F9DF-4EFD-B1CA-91DF62AE9E9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83D86FA-D46D-480B-9FC5-9BA5337DE0A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A457CD2-A416-4C89-8DB3-FC2EA53771E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58F5939-9E9E-4563-801D-1758AA7C3C7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F93495C-B9CE-4AB3-B43C-849C7132541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97610C8-E1B7-4E03-94D6-B29DF3CE25F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485</c:v>
                </c:pt>
                <c:pt idx="1">
                  <c:v>-0.91049999999999998</c:v>
                </c:pt>
                <c:pt idx="2">
                  <c:v>0.32050000000000001</c:v>
                </c:pt>
              </c:numCache>
            </c:numRef>
          </c:xVal>
          <c:yVal>
            <c:numRef>
              <c:f>Sheet1!$B$2:$B$4</c:f>
              <c:numCache>
                <c:formatCode>General</c:formatCode>
                <c:ptCount val="3"/>
                <c:pt idx="0">
                  <c:v>914</c:v>
                </c:pt>
                <c:pt idx="1">
                  <c:v>839</c:v>
                </c:pt>
                <c:pt idx="2">
                  <c:v>7307.5535714285706</c:v>
                </c:pt>
              </c:numCache>
            </c:numRef>
          </c:yVal>
          <c:bubbleSize>
            <c:numRef>
              <c:f>Sheet1!$C$2:$C$4</c:f>
              <c:numCache>
                <c:formatCode>General</c:formatCode>
                <c:ptCount val="3"/>
                <c:pt idx="0">
                  <c:v>1141.1116</c:v>
                </c:pt>
                <c:pt idx="1">
                  <c:v>1341.184</c:v>
                </c:pt>
                <c:pt idx="2">
                  <c:v>278077.10879999999</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12CT</c:v>
                  </c:pt>
                  <c:pt idx="1">
                    <c:v>HYDRO 5 SENSITIVE 5 BLADE REFILL SENSITIVE 4CT</c:v>
                  </c:pt>
                  <c:pt idx="2">
                    <c:v>HYDRO 5 SENSITIVE 5 BLADE REFILL SENSITIVE 6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8FA4BFA-F280-4C6C-A44C-D2E25EBB71C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3F05683-FB95-42EB-A05F-ACFC97D3F85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974BC8-8F57-4532-B029-CB36EB7DE48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67E29F3-AB42-46C3-BC29-109F35105DF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48FD9A4-9696-45E4-A08D-B4A6A826103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D2BB9A-FABE-4F77-AF55-BE596C4A1E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B5CA4EC-2E26-4C30-A4F5-3CF66D0C467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89999999999998</c:v>
                </c:pt>
                <c:pt idx="1">
                  <c:v>0.35830000000000001</c:v>
                </c:pt>
                <c:pt idx="2">
                  <c:v>0.43030000000000002</c:v>
                </c:pt>
              </c:numCache>
            </c:numRef>
          </c:xVal>
          <c:yVal>
            <c:numRef>
              <c:f>Sheet1!$B$2:$B$4</c:f>
              <c:numCache>
                <c:formatCode>General</c:formatCode>
                <c:ptCount val="3"/>
                <c:pt idx="0">
                  <c:v>1148.3170731707321</c:v>
                </c:pt>
                <c:pt idx="1">
                  <c:v>3361.8</c:v>
                </c:pt>
                <c:pt idx="2">
                  <c:v>4936.0153846153844</c:v>
                </c:pt>
              </c:numCache>
            </c:numRef>
          </c:yVal>
          <c:bubbleSize>
            <c:numRef>
              <c:f>Sheet1!$C$2:$C$4</c:f>
              <c:numCache>
                <c:formatCode>General</c:formatCode>
                <c:ptCount val="3"/>
                <c:pt idx="0">
                  <c:v>28301.748800000001</c:v>
                </c:pt>
                <c:pt idx="1">
                  <c:v>86297.400299999994</c:v>
                </c:pt>
                <c:pt idx="2">
                  <c:v>182797.47649999999</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8CT</c:v>
                  </c:pt>
                  <c:pt idx="2">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90928863633829238</c:v>
                </c:pt>
                <c:pt idx="1">
                  <c:v>8.9289807892067544E-2</c:v>
                </c:pt>
                <c:pt idx="2">
                  <c:v>1.421555769640087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79849812265331677</c:v>
                </c:pt>
                <c:pt idx="1">
                  <c:v>0.12515644555694622</c:v>
                </c:pt>
                <c:pt idx="2">
                  <c:v>7.634543178973718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87.815693580959149</c:v>
                </c:pt>
                <c:pt idx="1">
                  <c:v>140.16879251015283</c:v>
                </c:pt>
                <c:pt idx="2">
                  <c:v>5370.554811864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746201A-477E-42C5-B8C4-70029FB5FC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1EFC18-EB2B-4F27-85FB-54842A4F40A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DD920FB-9B34-4D7B-A5A8-A281B350D5D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898BDDF-1613-42F7-BFF2-D7486C62BE7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5B26382-1F5B-42B5-97B0-64569CF102A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020AB84-B45F-4A07-B3F5-9A9796A24F7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80A5B0A-6AEC-4C9C-82EF-6ACCD4285FA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1940000000000001</c:v>
                </c:pt>
                <c:pt idx="1">
                  <c:v>0.20269999999999999</c:v>
                </c:pt>
                <c:pt idx="2">
                  <c:v>0.32069999999999999</c:v>
                </c:pt>
              </c:numCache>
            </c:numRef>
          </c:xVal>
          <c:yVal>
            <c:numRef>
              <c:f>Sheet1!$B$2:$B$4</c:f>
              <c:numCache>
                <c:formatCode>General</c:formatCode>
                <c:ptCount val="3"/>
                <c:pt idx="0">
                  <c:v>5275.4193548387093</c:v>
                </c:pt>
                <c:pt idx="1">
                  <c:v>1055.75</c:v>
                </c:pt>
                <c:pt idx="2">
                  <c:v>4560.0253164556962</c:v>
                </c:pt>
              </c:numCache>
            </c:numRef>
          </c:yVal>
          <c:bubbleSize>
            <c:numRef>
              <c:f>Sheet1!$C$2:$C$4</c:f>
              <c:numCache>
                <c:formatCode>General</c:formatCode>
                <c:ptCount val="3"/>
                <c:pt idx="0">
                  <c:v>127660.91680000001</c:v>
                </c:pt>
                <c:pt idx="1">
                  <c:v>3367.1781000000001</c:v>
                </c:pt>
                <c:pt idx="2">
                  <c:v>244698.5876</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12CT</c:v>
                  </c:pt>
                  <c:pt idx="1">
                    <c:v>SCHICK HYDRO 3 SENSITIVE 3 BLADE REFILL SENSITIVE 5CT</c:v>
                  </c:pt>
                  <c:pt idx="2">
                    <c:v>HYDRO 5 SENSITIVE 5 BLADE REFILL SENSITIVE 6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ADE22DE-FEE3-4E2D-B100-0F81F71AE56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4D7B3AF-1280-496E-B5C0-636CAD10054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77C825-E4DE-4A8F-A083-49834B21153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6CE1C01-FE85-4397-BA26-A73DEF477F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210BDCE-C52A-4F3F-8E4E-E206446B791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2F3603F-9C0F-4DFE-853A-35769335FFA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546002C-61F4-467D-B89C-953CDDBCDF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739999999999998</c:v>
                </c:pt>
                <c:pt idx="1">
                  <c:v>0.39600000000000002</c:v>
                </c:pt>
                <c:pt idx="2">
                  <c:v>0.42920000000000003</c:v>
                </c:pt>
              </c:numCache>
            </c:numRef>
          </c:xVal>
          <c:yVal>
            <c:numRef>
              <c:f>Sheet1!$B$2:$B$4</c:f>
              <c:numCache>
                <c:formatCode>General</c:formatCode>
                <c:ptCount val="3"/>
                <c:pt idx="0">
                  <c:v>745.05970149253733</c:v>
                </c:pt>
                <c:pt idx="1">
                  <c:v>2624.6851851851852</c:v>
                </c:pt>
                <c:pt idx="2">
                  <c:v>3421.4096385542171</c:v>
                </c:pt>
              </c:numCache>
            </c:numRef>
          </c:yVal>
          <c:bubbleSize>
            <c:numRef>
              <c:f>Sheet1!$C$2:$C$4</c:f>
              <c:numCache>
                <c:formatCode>General</c:formatCode>
                <c:ptCount val="3"/>
                <c:pt idx="0">
                  <c:v>30082.322400000001</c:v>
                </c:pt>
                <c:pt idx="1">
                  <c:v>85603.147900000011</c:v>
                </c:pt>
                <c:pt idx="2">
                  <c:v>162101.8536</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8CT</c:v>
                  </c:pt>
                  <c:pt idx="2">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AB5914D-BF5E-49DD-BBE4-F734A2152C8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A550C6-BE15-424D-ACE6-17B1B94FC61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139A2E6-91C8-46A5-B7C3-2D557A5DF0E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935978C-60DF-4D2A-A5FD-1C77F4A3C3C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3859C92-AEC2-45E3-8568-27775787E16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2BF4891-3414-4FFD-AAC3-B7DE97BC02A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972E0D3-A6E1-4C6F-9037-593AB2C0EA7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2205</c:v>
                </c:pt>
                <c:pt idx="1">
                  <c:v>0.2843</c:v>
                </c:pt>
                <c:pt idx="2">
                  <c:v>-1.6830000000000001</c:v>
                </c:pt>
                <c:pt idx="3">
                  <c:v>-0.64170000000000005</c:v>
                </c:pt>
                <c:pt idx="4">
                  <c:v>0.3211</c:v>
                </c:pt>
              </c:numCache>
            </c:numRef>
          </c:xVal>
          <c:yVal>
            <c:numRef>
              <c:f>Sheet1!$B$2:$B$6</c:f>
              <c:numCache>
                <c:formatCode>General</c:formatCode>
                <c:ptCount val="5"/>
                <c:pt idx="0">
                  <c:v>66122.918367346938</c:v>
                </c:pt>
                <c:pt idx="1">
                  <c:v>19381.2</c:v>
                </c:pt>
                <c:pt idx="2">
                  <c:v>789</c:v>
                </c:pt>
                <c:pt idx="3">
                  <c:v>4359</c:v>
                </c:pt>
                <c:pt idx="4">
                  <c:v>57541.387499999997</c:v>
                </c:pt>
              </c:numCache>
            </c:numRef>
          </c:yVal>
          <c:bubbleSize>
            <c:numRef>
              <c:f>Sheet1!$C$2:$C$6</c:f>
              <c:numCache>
                <c:formatCode>General</c:formatCode>
                <c:ptCount val="5"/>
                <c:pt idx="0">
                  <c:v>2525616.0184999998</c:v>
                </c:pt>
                <c:pt idx="1">
                  <c:v>69360.267600000006</c:v>
                </c:pt>
                <c:pt idx="2">
                  <c:v>1733.2224000000001</c:v>
                </c:pt>
                <c:pt idx="3">
                  <c:v>6169.4463999999998</c:v>
                </c:pt>
                <c:pt idx="4">
                  <c:v>3125406.0482000001</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12CT</c:v>
                  </c:pt>
                  <c:pt idx="1">
                    <c:v>SCHICK HYDRO 3 SENSITIVE 3 BLADE REFILL SENSITIVE 5CT</c:v>
                  </c:pt>
                  <c:pt idx="2">
                    <c:v>HYDRO 5 DRY SKIN 5 BLADE REFILL NORMAL 4CT</c:v>
                  </c:pt>
                  <c:pt idx="3">
                    <c:v>HYDRO 5 SENSITIVE 5 BLADE REFILL SENSITIVE 4CT</c:v>
                  </c:pt>
                  <c:pt idx="4">
                    <c:v>HYDRO 5 SENSITIVE 5 BLADE REFILL SENSITIVE 6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769A1B3-CA67-40D7-87B3-BB7EFD0CDCA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30750B64-2072-4BF9-82D5-81BF688151B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8717805-488A-4C44-BB38-F662BB2B650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BA73076-15A2-449C-AF06-5B7F941AD2D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077F284-B9CE-402F-A934-842444D3A6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E3903C5-9011-44FB-88BC-5203B0217AA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2C924D8-7E05-4414-AE37-9A8BC20A5A9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639999999999999</c:v>
                </c:pt>
              </c:numCache>
            </c:numRef>
          </c:xVal>
          <c:yVal>
            <c:numRef>
              <c:f>Sheet1!$B$2:$B$2</c:f>
              <c:numCache>
                <c:formatCode>General</c:formatCode>
                <c:ptCount val="1"/>
                <c:pt idx="0">
                  <c:v>5990.2857142857138</c:v>
                </c:pt>
              </c:numCache>
            </c:numRef>
          </c:yVal>
          <c:bubbleSize>
            <c:numRef>
              <c:f>Sheet1!$C$2:$C$2</c:f>
              <c:numCache>
                <c:formatCode>General</c:formatCode>
                <c:ptCount val="1"/>
                <c:pt idx="0">
                  <c:v>27404.931199999999</c:v>
                </c:pt>
              </c:numCache>
            </c:numRef>
          </c:bubbleSize>
          <c:bubble3D val="0"/>
          <c:extLst>
            <c:ext xmlns:c15="http://schemas.microsoft.com/office/drawing/2012/chart" uri="{02D57815-91ED-43cb-92C2-25804820EDAC}">
              <c15:datalabelsRange>
                <c15:f>Sheet1!$E$2:$E$50</c15:f>
                <c15:dlblRangeCache>
                  <c:ptCount val="49"/>
                  <c:pt idx="0">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DCEC894-D09D-46BD-94DF-E8341336E0C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8228551-9B62-4CA9-A9AB-6AE78AE4528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A80E0E1-67DC-40A2-87E4-5277B270403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4D4E34-CF7E-4751-B690-059589B0C1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4A3765A-F06E-4644-9824-7A99C0286F9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C669DE3-A029-4287-9689-4FDC2C89B8D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03C02BD-70A7-4D06-A6C4-DB75DB95873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7</c:v>
                </c:pt>
                <c:pt idx="1">
                  <c:v>0.40649999999999997</c:v>
                </c:pt>
                <c:pt idx="2">
                  <c:v>0.43009999999999998</c:v>
                </c:pt>
              </c:numCache>
            </c:numRef>
          </c:xVal>
          <c:yVal>
            <c:numRef>
              <c:f>Sheet1!$B$2:$B$4</c:f>
              <c:numCache>
                <c:formatCode>General</c:formatCode>
                <c:ptCount val="3"/>
                <c:pt idx="0">
                  <c:v>8564.5633802816901</c:v>
                </c:pt>
                <c:pt idx="1">
                  <c:v>32905.133333333331</c:v>
                </c:pt>
                <c:pt idx="2">
                  <c:v>46244.011627906977</c:v>
                </c:pt>
              </c:numCache>
            </c:numRef>
          </c:yVal>
          <c:bubbleSize>
            <c:numRef>
              <c:f>Sheet1!$C$2:$C$4</c:f>
              <c:numCache>
                <c:formatCode>General</c:formatCode>
                <c:ptCount val="3"/>
                <c:pt idx="0">
                  <c:v>365615.01729999989</c:v>
                </c:pt>
                <c:pt idx="1">
                  <c:v>1171834.1069</c:v>
                </c:pt>
                <c:pt idx="2">
                  <c:v>2266539.6035000002</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8CT</c:v>
                  </c:pt>
                  <c:pt idx="2">
                    <c:v>EQUATE EASY FIT 5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FEE1F8E-0589-4E0B-ABEA-38F22EA864F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E371706-1712-4363-ACB4-FC213FDAD00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DE59B5B-07F4-443A-8126-44ABECDCF2B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E34658-831F-4773-A50A-191B4AC179A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2769969-C4AB-4F3A-A3A8-23F3E60FB9C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6AF4719-2189-4115-A422-82E6D357DF0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847D861-5534-4C45-9DC4-CD42FCCBD1B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8310000000000004</c:v>
                </c:pt>
                <c:pt idx="1">
                  <c:v>0.223</c:v>
                </c:pt>
                <c:pt idx="2">
                  <c:v>0.36749999999999999</c:v>
                </c:pt>
                <c:pt idx="3">
                  <c:v>0.39179999999999998</c:v>
                </c:pt>
              </c:numCache>
            </c:numRef>
          </c:xVal>
          <c:yVal>
            <c:numRef>
              <c:f>Sheet1!$B$2:$B$5</c:f>
              <c:numCache>
                <c:formatCode>General</c:formatCode>
                <c:ptCount val="4"/>
                <c:pt idx="0">
                  <c:v>1754</c:v>
                </c:pt>
                <c:pt idx="1">
                  <c:v>17159.559193954661</c:v>
                </c:pt>
                <c:pt idx="2">
                  <c:v>21416.964285714279</c:v>
                </c:pt>
                <c:pt idx="3">
                  <c:v>48994.894366197179</c:v>
                </c:pt>
              </c:numCache>
            </c:numRef>
          </c:yVal>
          <c:bubbleSize>
            <c:numRef>
              <c:f>Sheet1!$C$2:$C$5</c:f>
              <c:numCache>
                <c:formatCode>General</c:formatCode>
                <c:ptCount val="4"/>
                <c:pt idx="0">
                  <c:v>2502.7807999999991</c:v>
                </c:pt>
                <c:pt idx="1">
                  <c:v>1058631.9765999999</c:v>
                </c:pt>
                <c:pt idx="2">
                  <c:v>75862.375199999995</c:v>
                </c:pt>
                <c:pt idx="3">
                  <c:v>2538781.9904</c:v>
                </c:pt>
              </c:numCache>
            </c:numRef>
          </c:bubbleSize>
          <c:bubble3D val="0"/>
          <c:extLst>
            <c:ext xmlns:c15="http://schemas.microsoft.com/office/drawing/2012/chart" uri="{02D57815-91ED-43cb-92C2-25804820EDAC}">
              <c15:datalabelsRange>
                <c15:f>Sheet1!$E$2:$E$50</c15:f>
                <c15:dlblRangeCache>
                  <c:ptCount val="49"/>
                  <c:pt idx="0">
                    <c:v>HYDRO 5 SENSITIVE 5 BLADE RAZOR SENSITIVE 2CT</c:v>
                  </c:pt>
                  <c:pt idx="1">
                    <c:v>HYDRO 5 SENSITIVE GRAY HOLIDAY GIFT PACK 5 BLADE RAZOR SENSITIVE 3CT</c:v>
                  </c:pt>
                  <c:pt idx="2">
                    <c:v>SCHICK HYDRO 3 SENSITIVE 3 BLADE RAZOR SENSITIVE 4CT</c:v>
                  </c:pt>
                  <c:pt idx="3">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1692AB7-8375-4F3E-AA34-C9D9AD2CD1A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F66303C6-CCFA-444D-8B27-5206D1F0B58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FCBBB5E-11ED-4DA5-AAC0-3D2AB68A847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8071947-C498-44D1-817C-8209213347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8839132-21C6-4523-B22E-DBF926870F5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C1ED7FD-52B2-4D54-BDDE-3D06F5AFEE9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15C291A-C7EC-4BC4-99E7-A6F030B664C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80000000000001</c:v>
                </c:pt>
              </c:numCache>
            </c:numRef>
          </c:xVal>
          <c:yVal>
            <c:numRef>
              <c:f>Sheet1!$B$2:$B$2</c:f>
              <c:numCache>
                <c:formatCode>General</c:formatCode>
                <c:ptCount val="1"/>
                <c:pt idx="0">
                  <c:v>7625.1282051282042</c:v>
                </c:pt>
              </c:numCache>
            </c:numRef>
          </c:yVal>
          <c:bubbleSize>
            <c:numRef>
              <c:f>Sheet1!$C$2:$C$2</c:f>
              <c:numCache>
                <c:formatCode>General</c:formatCode>
                <c:ptCount val="1"/>
                <c:pt idx="0">
                  <c:v>56493.237800000003</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613D4E8-AAB4-4458-BAAC-F7D31BC3FD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4D27610C-5F91-4E25-8069-64E456D1162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AACFBC7-5B8B-4983-91C9-CB9F1D7A824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1893B8A-5213-4433-963A-284BD10EA6F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6D42DEE-07AC-495F-9A52-436A310F6EE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C0C5064-B88E-4269-8368-C68D7F9C560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6B83E1F-5153-430B-9BC4-A5A3B9ECE37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31615.11318242344</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0812E1D-4DD3-470B-9E01-2DD4B2AEA8F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A27198B6-F055-4573-82CD-876B2E36F99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F609F63-1A85-4F06-923F-5CCC7B1E37B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DAB7751-7303-4974-BF0E-EA0F392F977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73928DC-3FF3-4038-A413-76196D368A5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F934FEE-B12F-4FE9-983F-8A80F537BEF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E6DCDF5-13BF-42BF-9CCF-874FAD4A1C8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190000000000003</c:v>
                </c:pt>
              </c:numCache>
            </c:numRef>
          </c:xVal>
          <c:yVal>
            <c:numRef>
              <c:f>Sheet1!$B$2:$B$2</c:f>
              <c:numCache>
                <c:formatCode>General</c:formatCode>
                <c:ptCount val="1"/>
                <c:pt idx="0">
                  <c:v>4743.377049180328</c:v>
                </c:pt>
              </c:numCache>
            </c:numRef>
          </c:yVal>
          <c:bubbleSize>
            <c:numRef>
              <c:f>Sheet1!$C$2:$C$2</c:f>
              <c:numCache>
                <c:formatCode>General</c:formatCode>
                <c:ptCount val="1"/>
                <c:pt idx="0">
                  <c:v>175947.76449999999</c:v>
                </c:pt>
              </c:numCache>
            </c:numRef>
          </c:bubbleSize>
          <c:bubble3D val="0"/>
          <c:extLst>
            <c:ext xmlns:c15="http://schemas.microsoft.com/office/drawing/2012/chart" uri="{02D57815-91ED-43cb-92C2-25804820EDAC}">
              <c15:datalabelsRange>
                <c15:f>Sheet1!$E$2:$E$50</c15:f>
                <c15:dlblRangeCache>
                  <c:ptCount val="49"/>
                  <c:pt idx="0">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A73A55C-2F08-4435-A284-DCA138C03CB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94218A93-71C0-49F0-B298-874342F4ABF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AFAC6B94-6785-4AE3-8920-54FF8A451BE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5D6844C-A71F-4E23-8BC0-A4288D2A0FB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6405760-FFAA-429F-927D-8C842D51B54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8B5AFD3-47DB-47A3-94BB-4E990761A50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62EA7AA-E174-41B6-AB97-68746287979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80000000000001</c:v>
                </c:pt>
              </c:numCache>
            </c:numRef>
          </c:xVal>
          <c:yVal>
            <c:numRef>
              <c:f>Sheet1!$B$2:$B$2</c:f>
              <c:numCache>
                <c:formatCode>General</c:formatCode>
                <c:ptCount val="1"/>
                <c:pt idx="0">
                  <c:v>3302.6981132075471</c:v>
                </c:pt>
              </c:numCache>
            </c:numRef>
          </c:yVal>
          <c:bubbleSize>
            <c:numRef>
              <c:f>Sheet1!$C$2:$C$2</c:f>
              <c:numCache>
                <c:formatCode>General</c:formatCode>
                <c:ptCount val="1"/>
                <c:pt idx="0">
                  <c:v>89489.170399999974</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Dollar Shave Club</c:v>
                </c:pt>
                <c:pt idx="4">
                  <c:v>Schick</c:v>
                </c:pt>
                <c:pt idx="5">
                  <c:v>Equate</c:v>
                </c:pt>
                <c:pt idx="6">
                  <c:v>Comfort 3</c:v>
                </c:pt>
                <c:pt idx="7">
                  <c:v>Cremo</c:v>
                </c:pt>
                <c:pt idx="8">
                  <c:v>Others</c:v>
                </c:pt>
              </c:strCache>
            </c:strRef>
          </c:cat>
          <c:val>
            <c:numRef>
              <c:f>Sheet1!$B$2:$B$10</c:f>
              <c:numCache>
                <c:formatCode>General</c:formatCode>
                <c:ptCount val="9"/>
                <c:pt idx="0">
                  <c:v>0.59012128868399372</c:v>
                </c:pt>
                <c:pt idx="1">
                  <c:v>0.20514442686203471</c:v>
                </c:pt>
                <c:pt idx="2">
                  <c:v>6.2632646200993888E-2</c:v>
                </c:pt>
                <c:pt idx="3">
                  <c:v>4.56218420807529E-2</c:v>
                </c:pt>
                <c:pt idx="4">
                  <c:v>4.141829608641405E-2</c:v>
                </c:pt>
                <c:pt idx="5">
                  <c:v>4.0043314347797926E-2</c:v>
                </c:pt>
                <c:pt idx="6">
                  <c:v>1.3853653151430251E-2</c:v>
                </c:pt>
                <c:pt idx="7">
                  <c:v>4.0186864190620004E-6</c:v>
                </c:pt>
                <c:pt idx="8">
                  <c:v>1.1605139001635368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Dollar Shave Club</c:v>
                </c:pt>
                <c:pt idx="4">
                  <c:v>Schick</c:v>
                </c:pt>
                <c:pt idx="5">
                  <c:v>Equate</c:v>
                </c:pt>
                <c:pt idx="6">
                  <c:v>Comfort 3</c:v>
                </c:pt>
                <c:pt idx="7">
                  <c:v>Cremo</c:v>
                </c:pt>
                <c:pt idx="8">
                  <c:v>Others</c:v>
                </c:pt>
              </c:strCache>
            </c:strRef>
          </c:cat>
          <c:val>
            <c:numRef>
              <c:f>Sheet1!$C$2:$C$10</c:f>
              <c:numCache>
                <c:formatCode>General</c:formatCode>
                <c:ptCount val="9"/>
                <c:pt idx="0">
                  <c:v>0.45956192080876113</c:v>
                </c:pt>
                <c:pt idx="1">
                  <c:v>0.16343723673125515</c:v>
                </c:pt>
                <c:pt idx="2">
                  <c:v>0.11794439764111192</c:v>
                </c:pt>
                <c:pt idx="3">
                  <c:v>8.2139848357202963E-2</c:v>
                </c:pt>
                <c:pt idx="4">
                  <c:v>5.2653748946924976E-2</c:v>
                </c:pt>
                <c:pt idx="5">
                  <c:v>8.5509688289806152E-2</c:v>
                </c:pt>
                <c:pt idx="6">
                  <c:v>2.9486099410277987E-2</c:v>
                </c:pt>
                <c:pt idx="7">
                  <c:v>4.2122999157539982E-4</c:v>
                </c:pt>
                <c:pt idx="8">
                  <c:v>8.8458298230833978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Dollar Shave Club</c:v>
                </c:pt>
                <c:pt idx="4">
                  <c:v>Schick</c:v>
                </c:pt>
                <c:pt idx="5">
                  <c:v>Equate</c:v>
                </c:pt>
                <c:pt idx="6">
                  <c:v>Comfort 3</c:v>
                </c:pt>
                <c:pt idx="7">
                  <c:v>Cremo</c:v>
                </c:pt>
                <c:pt idx="8">
                  <c:v>Others</c:v>
                </c:pt>
              </c:strCache>
            </c:strRef>
          </c:cat>
          <c:val>
            <c:numRef>
              <c:f>Sheet1!$D$2:$D$10</c:f>
              <c:numCache>
                <c:formatCode>General</c:formatCode>
                <c:ptCount val="9"/>
                <c:pt idx="0">
                  <c:v>77.875841733080335</c:v>
                </c:pt>
                <c:pt idx="1">
                  <c:v>79.669352578206372</c:v>
                </c:pt>
                <c:pt idx="2">
                  <c:v>188.3113756085246</c:v>
                </c:pt>
                <c:pt idx="3">
                  <c:v>180.04500609995404</c:v>
                </c:pt>
                <c:pt idx="4">
                  <c:v>127.12678676367943</c:v>
                </c:pt>
                <c:pt idx="5">
                  <c:v>213.5429838477107</c:v>
                </c:pt>
                <c:pt idx="6">
                  <c:v>212.8398848157523</c:v>
                </c:pt>
                <c:pt idx="7">
                  <c:v>10481.783041776096</c:v>
                </c:pt>
                <c:pt idx="8">
                  <c:v>762.23385362612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39DCAB6-A972-4A6C-A0D3-EC5BD966DE6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D80EF6F-DC97-4CB2-8E53-CD58849A1F7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36DC006-D54F-439B-8BE9-60A1BF82ECE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07D0A59-5F04-49F4-9E11-1FDA03B1227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F50113E-F4F1-4E30-AF20-31C0C3EE5BF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AF0242-C778-4F12-BDF6-CA12C1E11A2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B36D873-2B82-4B77-8A20-530EF222839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9170000000000001</c:v>
                </c:pt>
                <c:pt idx="1">
                  <c:v>0.35849999999999999</c:v>
                </c:pt>
                <c:pt idx="2">
                  <c:v>0.39179999999999998</c:v>
                </c:pt>
              </c:numCache>
            </c:numRef>
          </c:xVal>
          <c:yVal>
            <c:numRef>
              <c:f>Sheet1!$B$2:$B$4</c:f>
              <c:numCache>
                <c:formatCode>General</c:formatCode>
                <c:ptCount val="3"/>
                <c:pt idx="0">
                  <c:v>1094.75</c:v>
                </c:pt>
                <c:pt idx="1">
                  <c:v>999.2</c:v>
                </c:pt>
                <c:pt idx="2">
                  <c:v>3435.0481927710839</c:v>
                </c:pt>
              </c:numCache>
            </c:numRef>
          </c:yVal>
          <c:bubbleSize>
            <c:numRef>
              <c:f>Sheet1!$C$2:$C$4</c:f>
              <c:numCache>
                <c:formatCode>General</c:formatCode>
                <c:ptCount val="3"/>
                <c:pt idx="0">
                  <c:v>3101.6833000000001</c:v>
                </c:pt>
                <c:pt idx="1">
                  <c:v>3205.0187999999998</c:v>
                </c:pt>
                <c:pt idx="2">
                  <c:v>173389.4657</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SCHICK HYDRO 3 SENSITIVE 3 BLADE RAZOR SENSITIVE 4CT</c:v>
                  </c:pt>
                  <c:pt idx="2">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C5CC6C6-8AC6-4859-98CD-FB2F4091E76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0D198776-783F-4607-AF28-F40B4E81857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DA1E0F7-C73F-4DC6-9D1B-5A60CB2354B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3D28B29-E656-4179-A8E1-FA309FAB249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BEBA582-C913-4232-97F3-E8CB6D67BE8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863E3BD-807C-4273-98B9-CBD3A3E41C6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BAE81D4-8974-4D08-9B7B-3B1927FF6DC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09999999999999</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FE0B32-DD84-4EB7-91DD-30D273A303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15113B80-86E2-4B9B-B755-7D13373D75A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AE54E0EB-B1D0-406C-9EF7-68993026A3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BAF77B-4891-4BA5-85F9-693D18AE5CD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A8817D4-3EF0-467C-9492-BF103ECD6F8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3BBCCC2-9999-4317-8027-B3B00890AD8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D2447E3-4771-4AF0-852C-E3D3FABC8AC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749999999999999</c:v>
                </c:pt>
              </c:numCache>
            </c:numRef>
          </c:xVal>
          <c:yVal>
            <c:numRef>
              <c:f>Sheet1!$B$2:$B$2</c:f>
              <c:numCache>
                <c:formatCode>General</c:formatCode>
                <c:ptCount val="1"/>
                <c:pt idx="0">
                  <c:v>2192.542857142857</c:v>
                </c:pt>
              </c:numCache>
            </c:numRef>
          </c:yVal>
          <c:bubbleSize>
            <c:numRef>
              <c:f>Sheet1!$C$2:$C$2</c:f>
              <c:numCache>
                <c:formatCode>General</c:formatCode>
                <c:ptCount val="1"/>
                <c:pt idx="0">
                  <c:v>78650.092899999989</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3891B8E-EC44-4D8A-A44C-68C7F031B5D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5F71A5B-DF4B-444F-BB06-A37A1505A1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1BA173-A58E-4A8F-9E9A-6EFF119918F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49FEF0D-B4AC-43F3-B744-8928A5ED2F7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1BCD2C0-44DF-4F74-9709-6A0FC23C4B8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C4D4B3D-8117-4B77-BE3B-6E149FFDE54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DF7181E-E423-42E8-A09D-E353EE30A5B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583</c:v>
                </c:pt>
                <c:pt idx="1">
                  <c:v>0.2228</c:v>
                </c:pt>
                <c:pt idx="2">
                  <c:v>0.3679</c:v>
                </c:pt>
                <c:pt idx="3">
                  <c:v>0.39179999999999998</c:v>
                </c:pt>
              </c:numCache>
            </c:numRef>
          </c:xVal>
          <c:yVal>
            <c:numRef>
              <c:f>Sheet1!$B$2:$B$5</c:f>
              <c:numCache>
                <c:formatCode>General</c:formatCode>
                <c:ptCount val="4"/>
                <c:pt idx="0">
                  <c:v>1414</c:v>
                </c:pt>
                <c:pt idx="1">
                  <c:v>14923.912087912089</c:v>
                </c:pt>
                <c:pt idx="2">
                  <c:v>19149.166666666672</c:v>
                </c:pt>
                <c:pt idx="3">
                  <c:v>41378.275862068956</c:v>
                </c:pt>
              </c:numCache>
            </c:numRef>
          </c:yVal>
          <c:bubbleSize>
            <c:numRef>
              <c:f>Sheet1!$C$2:$C$5</c:f>
              <c:numCache>
                <c:formatCode>General</c:formatCode>
                <c:ptCount val="4"/>
                <c:pt idx="0">
                  <c:v>2069.6071999999999</c:v>
                </c:pt>
                <c:pt idx="1">
                  <c:v>1055523.5941999999</c:v>
                </c:pt>
                <c:pt idx="2">
                  <c:v>72621.147599999997</c:v>
                </c:pt>
                <c:pt idx="3">
                  <c:v>2189444.7601999999</c:v>
                </c:pt>
              </c:numCache>
            </c:numRef>
          </c:bubbleSize>
          <c:bubble3D val="0"/>
          <c:extLst>
            <c:ext xmlns:c15="http://schemas.microsoft.com/office/drawing/2012/chart" uri="{02D57815-91ED-43cb-92C2-25804820EDAC}">
              <c15:datalabelsRange>
                <c15:f>Sheet1!$E$2:$E$50</c15:f>
                <c15:dlblRangeCache>
                  <c:ptCount val="49"/>
                  <c:pt idx="0">
                    <c:v>HYDRO 5 SENSITIVE 5 BLADE RAZOR SENSITIVE 2CT</c:v>
                  </c:pt>
                  <c:pt idx="1">
                    <c:v>HYDRO 5 SENSITIVE GRAY HOLIDAY GIFT PACK 5 BLADE RAZOR SENSITIVE 3CT</c:v>
                  </c:pt>
                  <c:pt idx="2">
                    <c:v>SCHICK HYDRO 3 SENSITIVE 3 BLADE RAZOR SENSITIVE 4CT</c:v>
                  </c:pt>
                  <c:pt idx="3">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C8E2D73-474B-4641-89AF-3BE5ACDBB22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6579D179-9DF9-41DB-B732-134DD8C8AFC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488A0A63-7382-41BB-96EA-A099433DDE9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B528806-E93B-4E99-8BCC-7E3A994226D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321F99E-8029-4E95-8352-C1AA7FF9124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5D7A727-B086-4AE9-A85B-BFFCC722096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7A9D024-AA29-4CEA-A650-E5E0B773A8D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59999999999998</c:v>
                </c:pt>
              </c:numCache>
            </c:numRef>
          </c:xVal>
          <c:yVal>
            <c:numRef>
              <c:f>Sheet1!$B$2:$B$2</c:f>
              <c:numCache>
                <c:formatCode>General</c:formatCode>
                <c:ptCount val="1"/>
                <c:pt idx="0">
                  <c:v>6680.8461538461543</c:v>
                </c:pt>
              </c:numCache>
            </c:numRef>
          </c:yVal>
          <c:bubbleSize>
            <c:numRef>
              <c:f>Sheet1!$C$2:$C$2</c:f>
              <c:numCache>
                <c:formatCode>General</c:formatCode>
                <c:ptCount val="1"/>
                <c:pt idx="0">
                  <c:v>55007.155300000013</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27CCCB-C3DD-49F3-A825-FC2A5F608F3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D8C93094-A924-4C7D-877A-A1AD8BA6E2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8972025-CDA2-49A4-A59E-DA80F30C442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8ECAE80-382D-40AD-98D1-D82BC946188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E21DCC8-8654-4D0C-B523-EAE39E12BBC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F4CF873-5EEF-471C-9842-1FD08E78377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189D1E2-E628-4777-947C-0207C71E8EA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26568.493506493509</c:v>
                </c:pt>
              </c:numCache>
            </c:numRef>
          </c:yVal>
          <c:bubbleSize>
            <c:numRef>
              <c:f>Sheet1!$C$2:$C$2</c:f>
              <c:numCache>
                <c:formatCode>General</c:formatCode>
                <c:ptCount val="1"/>
                <c:pt idx="0">
                  <c:v>1046552.1158</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3B892AA-02FD-4AD7-93DF-0F56483DDDF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E23AE4D-FC3E-4722-8252-8FA6EB7B77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B82A3F7-64FA-4D28-850B-F35F4D22E3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20EF1CD-4395-4F68-91B5-26144AB3154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93A7252-2217-4DC9-A42B-F49C70BB1C6E}"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178DAF2-CC5F-48ED-AFB4-F24E78006CA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02C182F-78EC-4B20-A93B-E2ECF138ACE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938E29C-2303-492A-8140-E71964181B6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17BBF2A-B441-4788-B9C2-E13268CC825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912CFA9-4265-4D03-82AA-479D37F17CA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01</c:v>
                </c:pt>
                <c:pt idx="1">
                  <c:v>0.75900000000000001</c:v>
                </c:pt>
                <c:pt idx="2">
                  <c:v>0.79400000000000004</c:v>
                </c:pt>
                <c:pt idx="3">
                  <c:v>0.63400000000000001</c:v>
                </c:pt>
                <c:pt idx="4">
                  <c:v>0.44900000000000001</c:v>
                </c:pt>
                <c:pt idx="5">
                  <c:v>0.95</c:v>
                </c:pt>
                <c:pt idx="6">
                  <c:v>5.6000000000000001E-2</c:v>
                </c:pt>
                <c:pt idx="7">
                  <c:v>0.84399999999999997</c:v>
                </c:pt>
                <c:pt idx="8">
                  <c:v>4.7E-2</c:v>
                </c:pt>
                <c:pt idx="9">
                  <c:v>0.85699999999999998</c:v>
                </c:pt>
                <c:pt idx="10">
                  <c:v>8.9999999999999993E-3</c:v>
                </c:pt>
                <c:pt idx="11">
                  <c:v>0.70099999999999996</c:v>
                </c:pt>
                <c:pt idx="12">
                  <c:v>0.93899999999999995</c:v>
                </c:pt>
                <c:pt idx="13">
                  <c:v>0.01</c:v>
                </c:pt>
                <c:pt idx="14">
                  <c:v>0.78500000000000003</c:v>
                </c:pt>
                <c:pt idx="15">
                  <c:v>0.89600000000000002</c:v>
                </c:pt>
                <c:pt idx="16">
                  <c:v>0.85199999999999998</c:v>
                </c:pt>
              </c:numCache>
            </c:numRef>
          </c:xVal>
          <c:yVal>
            <c:numRef>
              <c:f>Sheet1!$B$2:$B$18</c:f>
              <c:numCache>
                <c:formatCode>General</c:formatCode>
                <c:ptCount val="17"/>
                <c:pt idx="0">
                  <c:v>1754</c:v>
                </c:pt>
                <c:pt idx="1">
                  <c:v>14944.044795783921</c:v>
                </c:pt>
                <c:pt idx="2">
                  <c:v>17159.559193954661</c:v>
                </c:pt>
                <c:pt idx="3">
                  <c:v>7261.4353312302837</c:v>
                </c:pt>
                <c:pt idx="4">
                  <c:v>75823.496659242766</c:v>
                </c:pt>
                <c:pt idx="5">
                  <c:v>42642.536842105263</c:v>
                </c:pt>
                <c:pt idx="6">
                  <c:v>21416.964285714279</c:v>
                </c:pt>
                <c:pt idx="7">
                  <c:v>6803.5545023696686</c:v>
                </c:pt>
                <c:pt idx="8">
                  <c:v>21518.936170212761</c:v>
                </c:pt>
                <c:pt idx="9">
                  <c:v>51342.777129521593</c:v>
                </c:pt>
                <c:pt idx="10">
                  <c:v>897.77777777777783</c:v>
                </c:pt>
                <c:pt idx="11">
                  <c:v>42879.101283880183</c:v>
                </c:pt>
                <c:pt idx="12">
                  <c:v>52579.062832800853</c:v>
                </c:pt>
                <c:pt idx="13">
                  <c:v>5644</c:v>
                </c:pt>
                <c:pt idx="14">
                  <c:v>68443.006369426745</c:v>
                </c:pt>
                <c:pt idx="15">
                  <c:v>6009.7767857142853</c:v>
                </c:pt>
                <c:pt idx="16">
                  <c:v>48994.894366197179</c:v>
                </c:pt>
              </c:numCache>
            </c:numRef>
          </c:yVal>
          <c:bubbleSize>
            <c:numRef>
              <c:f>Sheet1!$C$2:$C$18</c:f>
              <c:numCache>
                <c:formatCode>General</c:formatCode>
                <c:ptCount val="17"/>
                <c:pt idx="0">
                  <c:v>2502.7807999999991</c:v>
                </c:pt>
                <c:pt idx="1">
                  <c:v>838701.68579999998</c:v>
                </c:pt>
                <c:pt idx="2">
                  <c:v>1058631.9765999999</c:v>
                </c:pt>
                <c:pt idx="3">
                  <c:v>301018.2378</c:v>
                </c:pt>
                <c:pt idx="4">
                  <c:v>2654418.0469</c:v>
                </c:pt>
                <c:pt idx="5">
                  <c:v>2551270.2801999999</c:v>
                </c:pt>
                <c:pt idx="6">
                  <c:v>75862.375199999995</c:v>
                </c:pt>
                <c:pt idx="7">
                  <c:v>390839.13900000002</c:v>
                </c:pt>
                <c:pt idx="8">
                  <c:v>72733.447800000009</c:v>
                </c:pt>
                <c:pt idx="9">
                  <c:v>3101731.2096000002</c:v>
                </c:pt>
                <c:pt idx="10">
                  <c:v>1764.1728000000001</c:v>
                </c:pt>
                <c:pt idx="11">
                  <c:v>1920827.2086</c:v>
                </c:pt>
                <c:pt idx="12">
                  <c:v>3200726.89</c:v>
                </c:pt>
                <c:pt idx="13">
                  <c:v>8139.9551999999994</c:v>
                </c:pt>
                <c:pt idx="14">
                  <c:v>3648181.7445999999</c:v>
                </c:pt>
                <c:pt idx="15">
                  <c:v>350237.70730000013</c:v>
                </c:pt>
                <c:pt idx="16">
                  <c:v>2538781.9904</c:v>
                </c:pt>
              </c:numCache>
            </c:numRef>
          </c:bubbleSize>
          <c:bubble3D val="0"/>
          <c:extLst>
            <c:ext xmlns:c15="http://schemas.microsoft.com/office/drawing/2012/chart" uri="{02D57815-91ED-43cb-92C2-25804820EDAC}">
              <c15:datalabelsRange>
                <c15:f>Sheet1!$E$2:$E$21</c15:f>
                <c15:dlblRangeCache>
                  <c:ptCount val="20"/>
                  <c:pt idx="0">
                    <c:v>HYDRO 5 SENSITIVE 5 BLADE RAZOR SENSITIVE 2CT</c:v>
                  </c:pt>
                  <c:pt idx="1">
                    <c:v>SCHICK XTREME 3 SENSITIVE GREEN HOLIDAY GIFT PACK 3 BLADE DISPOSABLE SENSITIVE 8CT</c:v>
                  </c:pt>
                  <c:pt idx="2">
                    <c:v>HYDRO 5 SENSITIVE GRAY HOLIDAY GIFT PACK 5 BLADE RAZOR SENSITIVE 3CT</c:v>
                  </c:pt>
                  <c:pt idx="3">
                    <c:v>SCHICK XTREME 3 SENSITIVE GREEN BLACK 3 BLADE DISPOSABLE SENSITIVE 12CT</c:v>
                  </c:pt>
                  <c:pt idx="4">
                    <c:v>HYDRO 5 SENSITIVE 5 BLADE REFILL SENSITIVE 12CT</c:v>
                  </c:pt>
                  <c:pt idx="5">
                    <c:v>SCHICK XTREME 3 SENSITIVE BLACK 3 BLADE DISPOSABLE SENSITIVE 4CT</c:v>
                  </c:pt>
                  <c:pt idx="6">
                    <c:v>SCHICK HYDRO 3 SENSITIVE 3 BLADE RAZOR SENSITIVE 4CT</c:v>
                  </c:pt>
                  <c:pt idx="7">
                    <c:v>SCHICK XTREME 3 SENSITIVE GREEN BLACK 3 BLADE DISPOSABLE SENSITIVE 8CT</c:v>
                  </c:pt>
                  <c:pt idx="8">
                    <c:v>SCHICK HYDRO 3 SENSITIVE 3 BLADE REFILL SENSITIVE 5CT</c:v>
                  </c:pt>
                  <c:pt idx="9">
                    <c:v>SCHICK XTREME 3 SENSITIVE GREEN 3 BLADE DISPOSABLE SENSITIVE 8CT</c:v>
                  </c:pt>
                  <c:pt idx="10">
                    <c:v>HYDRO 5 DRY SKIN 5 BLADE REFILL NORMAL 4CT</c:v>
                  </c:pt>
                  <c:pt idx="11">
                    <c:v>SCHICK XTREME 3 SENSITIVE BLACK GREEN 3 BLADE DISPOSABLE SENSITIVE 12CT</c:v>
                  </c:pt>
                  <c:pt idx="12">
                    <c:v>SCHICK XTREME 2 SENSITIVE 2 BLADE DISPOSABLE NORMAL 12CT</c:v>
                  </c:pt>
                  <c:pt idx="13">
                    <c:v>HYDRO 5 SENSITIVE 5 BLADE REFILL SENSITIVE 4CT</c:v>
                  </c:pt>
                  <c:pt idx="14">
                    <c:v>HYDRO 5 SENSITIVE 5 BLADE REFILL SENSITIVE 6CT</c:v>
                  </c:pt>
                  <c:pt idx="15">
                    <c:v>SCHICK XTREME 3 SENSITIVE GREEN BLACK 3 BLADE DISPOSABLE SENSITIVE 4CT</c:v>
                  </c:pt>
                  <c:pt idx="16">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E25BD18-5E3C-4890-B383-67DB3111718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CC5869-9579-4627-BD52-1F9C613CB55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537CC15-78CE-4630-8DAE-F6CE5C43E46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31EBB06-1DB8-496F-B432-075C0FF9A06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595986C-4727-480E-AEC2-FA8BB5E1709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1E38A80-8A84-4757-9AA5-06D5EAAC31E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38C634F-DD14-4F59-ACCE-FFC89BB9E34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0A32568-5FBD-403A-ACEE-D92381801C5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BA0DCCC-FA61-439F-855A-78D31B518FD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E99DF75-BD55-4932-8A46-ECF40CB4FCD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6.4000000000000001E-2</c:v>
                </c:pt>
                <c:pt idx="1">
                  <c:v>0.11700000000000001</c:v>
                </c:pt>
              </c:numCache>
            </c:numRef>
          </c:xVal>
          <c:yVal>
            <c:numRef>
              <c:f>Sheet1!$B$2:$B$3</c:f>
              <c:numCache>
                <c:formatCode>General</c:formatCode>
                <c:ptCount val="2"/>
                <c:pt idx="0">
                  <c:v>6750.3125</c:v>
                </c:pt>
                <c:pt idx="1">
                  <c:v>7625.1282051282042</c:v>
                </c:pt>
              </c:numCache>
            </c:numRef>
          </c:yVal>
          <c:bubbleSize>
            <c:numRef>
              <c:f>Sheet1!$C$2:$C$3</c:f>
              <c:numCache>
                <c:formatCode>General</c:formatCode>
                <c:ptCount val="2"/>
                <c:pt idx="0">
                  <c:v>28272.369699999999</c:v>
                </c:pt>
                <c:pt idx="1">
                  <c:v>56493.237800000003</c:v>
                </c:pt>
              </c:numCache>
            </c:numRef>
          </c:bubbleSize>
          <c:bubble3D val="0"/>
          <c:extLst>
            <c:ext xmlns:c15="http://schemas.microsoft.com/office/drawing/2012/chart" uri="{02D57815-91ED-43cb-92C2-25804820EDAC}">
              <c15:datalabelsRange>
                <c15:f>Sheet1!$E$2:$E$21</c15:f>
                <c15:dlblRangeCache>
                  <c:ptCount val="20"/>
                  <c:pt idx="0">
                    <c:v>CREMO 5 BLADE REFILL NORMAL 4CT</c:v>
                  </c:pt>
                  <c:pt idx="1">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C5B2B68-2E08-405C-913F-98557ABA35A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10A1CC4-BE3E-4E1F-AEC4-B7B311CD4FB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A4765F9-3EC2-4FE1-BDC8-422825EC4A4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BBF310B-811D-458B-8047-C92DBABED2E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C86239D-1827-4EEA-AFFA-2AEC39703D7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CC2724A-ACE2-4BC0-AD59-C9D3EAC2992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3C9FD56-96A7-41C0-A491-328F448EC39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5522723-2FF6-48BB-8A8B-8699937BD79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3020CAF-E33A-4E39-A53F-B06EE76BAAC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64E76C3-ADB4-4B1A-8828-AB5445E45D1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751</c:v>
                </c:pt>
                <c:pt idx="1">
                  <c:v>0.98499999999999999</c:v>
                </c:pt>
                <c:pt idx="2">
                  <c:v>0.01</c:v>
                </c:pt>
                <c:pt idx="3">
                  <c:v>0.93799999999999994</c:v>
                </c:pt>
                <c:pt idx="4">
                  <c:v>0.68899999999999995</c:v>
                </c:pt>
                <c:pt idx="5">
                  <c:v>0.91100000000000003</c:v>
                </c:pt>
                <c:pt idx="6">
                  <c:v>0.98799999999999999</c:v>
                </c:pt>
                <c:pt idx="7">
                  <c:v>0.95899999999999996</c:v>
                </c:pt>
                <c:pt idx="8">
                  <c:v>0.97799999999999998</c:v>
                </c:pt>
                <c:pt idx="9">
                  <c:v>0.58399999999999996</c:v>
                </c:pt>
                <c:pt idx="10">
                  <c:v>0.84499999999999997</c:v>
                </c:pt>
              </c:numCache>
            </c:numRef>
          </c:xVal>
          <c:yVal>
            <c:numRef>
              <c:f>Sheet1!$B$2:$B$12</c:f>
              <c:numCache>
                <c:formatCode>General</c:formatCode>
                <c:ptCount val="11"/>
                <c:pt idx="0">
                  <c:v>31615.11318242344</c:v>
                </c:pt>
                <c:pt idx="1">
                  <c:v>88856.375634517768</c:v>
                </c:pt>
                <c:pt idx="2">
                  <c:v>779</c:v>
                </c:pt>
                <c:pt idx="3">
                  <c:v>34693.635394456287</c:v>
                </c:pt>
                <c:pt idx="4">
                  <c:v>10233.43976777939</c:v>
                </c:pt>
                <c:pt idx="5">
                  <c:v>39700.241492864981</c:v>
                </c:pt>
                <c:pt idx="6">
                  <c:v>38983.218623481793</c:v>
                </c:pt>
                <c:pt idx="7">
                  <c:v>37190.417101147032</c:v>
                </c:pt>
                <c:pt idx="8">
                  <c:v>17923.486707566459</c:v>
                </c:pt>
                <c:pt idx="9">
                  <c:v>38536.181506849323</c:v>
                </c:pt>
                <c:pt idx="10">
                  <c:v>54222.520710059172</c:v>
                </c:pt>
              </c:numCache>
            </c:numRef>
          </c:yVal>
          <c:bubbleSize>
            <c:numRef>
              <c:f>Sheet1!$C$2:$C$12</c:f>
              <c:numCache>
                <c:formatCode>General</c:formatCode>
                <c:ptCount val="11"/>
                <c:pt idx="0">
                  <c:v>1214691.3791</c:v>
                </c:pt>
                <c:pt idx="1">
                  <c:v>4518773.5040000007</c:v>
                </c:pt>
                <c:pt idx="2">
                  <c:v>1094.5673999999999</c:v>
                </c:pt>
                <c:pt idx="3">
                  <c:v>1798622.3696000001</c:v>
                </c:pt>
                <c:pt idx="4">
                  <c:v>423999.08850000001</c:v>
                </c:pt>
                <c:pt idx="5">
                  <c:v>1997336.7135999999</c:v>
                </c:pt>
                <c:pt idx="6">
                  <c:v>2298580.1270000008</c:v>
                </c:pt>
                <c:pt idx="7">
                  <c:v>1614221.3448999999</c:v>
                </c:pt>
                <c:pt idx="8">
                  <c:v>1228819.4014000001</c:v>
                </c:pt>
                <c:pt idx="9">
                  <c:v>1343734.6551000001</c:v>
                </c:pt>
                <c:pt idx="10">
                  <c:v>2611438.9335999992</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pt idx="1">
                    <c:v>EQUATE CALIBER 5 5 BLADE DISPOSABLE NORMAL 3CT</c:v>
                  </c:pt>
                  <c:pt idx="2">
                    <c:v>EQUATE CALIBER 5 5 BLADE REFILL NORMAL 4CT</c:v>
                  </c:pt>
                  <c:pt idx="3">
                    <c:v>EQUATE CALIBER 3 3 BLADE DISPOSABLE NORMAL 3CT</c:v>
                  </c:pt>
                  <c:pt idx="4">
                    <c:v>EQUATE EASY FIT 5 5 BLADE REFILL NORMAL 12CT</c:v>
                  </c:pt>
                  <c:pt idx="5">
                    <c:v>EQUATE SPEED 3 SENSITIVE GREEN 3 BLADE DISPOSABLE SENSITIVE 8CT</c:v>
                  </c:pt>
                  <c:pt idx="6">
                    <c:v>EQUATE TB (TWIN BLADE) BLUE 2 BLADE DISPOSABLE NORMAL 12CT</c:v>
                  </c:pt>
                  <c:pt idx="7">
                    <c:v>EQUATE SPEED 3 SENSITIVE GREEN 3 BLADE DISPOSABLE SENSITIVE 4CT</c:v>
                  </c:pt>
                  <c:pt idx="8">
                    <c:v>EQUATE TB (TWIN BLADE) BLUE 2 BLADE DISPOSABLE NORMAL 5CT</c:v>
                  </c:pt>
                  <c:pt idx="9">
                    <c:v>EQUATE EASY FIT 5 5 BLADE REFILL NORMAL 8CT</c:v>
                  </c:pt>
                  <c:pt idx="10">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E2A638D-FC04-42D9-855B-6FA631D553C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DCFF1BE-09EF-499B-BE5E-7EA37E85351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A7E0077-E26A-4F64-BE9B-693C29EA3FD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F7866DC-1772-46DA-B1B1-4ED6B114B3C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1AF04C6-E800-4969-A09A-729936280031}"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62BF50-6F84-459E-8899-9783F2C375E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7EBD658-489F-4C78-8788-D630FE3D126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8D3A841-80F7-4B5E-897C-BF520B7AD03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FD6F672-72E8-431A-88A9-9554A9724BD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3FBA3C1-B1C5-4404-A799-E6ABD54B881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24</c:v>
                </c:pt>
                <c:pt idx="1">
                  <c:v>0.01</c:v>
                </c:pt>
                <c:pt idx="2">
                  <c:v>0.81</c:v>
                </c:pt>
                <c:pt idx="3">
                  <c:v>0.61</c:v>
                </c:pt>
                <c:pt idx="4">
                  <c:v>0.65</c:v>
                </c:pt>
                <c:pt idx="5">
                  <c:v>0.3</c:v>
                </c:pt>
                <c:pt idx="6">
                  <c:v>0.77</c:v>
                </c:pt>
                <c:pt idx="7">
                  <c:v>0.01</c:v>
                </c:pt>
                <c:pt idx="8">
                  <c:v>0.56000000000000005</c:v>
                </c:pt>
                <c:pt idx="9">
                  <c:v>0.71</c:v>
                </c:pt>
                <c:pt idx="10">
                  <c:v>0.61</c:v>
                </c:pt>
              </c:numCache>
            </c:numRef>
          </c:xVal>
          <c:yVal>
            <c:numRef>
              <c:f>Sheet1!$B$2:$B$12</c:f>
              <c:numCache>
                <c:formatCode>General</c:formatCode>
                <c:ptCount val="11"/>
                <c:pt idx="0">
                  <c:v>743.54166666666663</c:v>
                </c:pt>
                <c:pt idx="1">
                  <c:v>914</c:v>
                </c:pt>
                <c:pt idx="2">
                  <c:v>3557.6049382716051</c:v>
                </c:pt>
                <c:pt idx="3">
                  <c:v>609.59016393442619</c:v>
                </c:pt>
                <c:pt idx="4">
                  <c:v>5031.3076923076924</c:v>
                </c:pt>
                <c:pt idx="5">
                  <c:v>4859.9333333333334</c:v>
                </c:pt>
                <c:pt idx="6">
                  <c:v>4400.727272727273</c:v>
                </c:pt>
                <c:pt idx="7">
                  <c:v>839</c:v>
                </c:pt>
                <c:pt idx="8">
                  <c:v>7307.5535714285706</c:v>
                </c:pt>
                <c:pt idx="9">
                  <c:v>536.43661971830988</c:v>
                </c:pt>
                <c:pt idx="10">
                  <c:v>4743.377049180328</c:v>
                </c:pt>
              </c:numCache>
            </c:numRef>
          </c:yVal>
          <c:bubbleSize>
            <c:numRef>
              <c:f>Sheet1!$C$2:$C$12</c:f>
              <c:numCache>
                <c:formatCode>General</c:formatCode>
                <c:ptCount val="11"/>
                <c:pt idx="0">
                  <c:v>11674.0008</c:v>
                </c:pt>
                <c:pt idx="1">
                  <c:v>1141.1116</c:v>
                </c:pt>
                <c:pt idx="2">
                  <c:v>181395.77009999999</c:v>
                </c:pt>
                <c:pt idx="3">
                  <c:v>25231.624599999999</c:v>
                </c:pt>
                <c:pt idx="4">
                  <c:v>230309.52960000001</c:v>
                </c:pt>
                <c:pt idx="5">
                  <c:v>93532.54770000001</c:v>
                </c:pt>
                <c:pt idx="6">
                  <c:v>219178.04300000001</c:v>
                </c:pt>
                <c:pt idx="7">
                  <c:v>1341.184</c:v>
                </c:pt>
                <c:pt idx="8">
                  <c:v>278077.10879999999</c:v>
                </c:pt>
                <c:pt idx="9">
                  <c:v>24732.3076</c:v>
                </c:pt>
                <c:pt idx="10">
                  <c:v>175947.76449999999</c:v>
                </c:pt>
              </c:numCache>
            </c:numRef>
          </c:bubbleSize>
          <c:bubble3D val="0"/>
          <c:extLst>
            <c:ext xmlns:c15="http://schemas.microsoft.com/office/drawing/2012/chart" uri="{02D57815-91ED-43cb-92C2-25804820EDAC}">
              <c15:datalabelsRange>
                <c15:f>Sheet1!$E$2:$E$21</c15:f>
                <c15:dlblRangeCache>
                  <c:ptCount val="20"/>
                  <c:pt idx="0">
                    <c:v>SCHICK XTREME 3 SENSITIVE GREEN BLACK 3 BLADE DISPOSABLE SENSITIVE 12CT</c:v>
                  </c:pt>
                  <c:pt idx="1">
                    <c:v>HYDRO 5 SENSITIVE 5 BLADE REFILL SENSITIVE 12CT</c:v>
                  </c:pt>
                  <c:pt idx="2">
                    <c:v>SCHICK XTREME 3 SENSITIVE BLACK 3 BLADE DISPOSABLE SENSITIVE 4CT</c:v>
                  </c:pt>
                  <c:pt idx="3">
                    <c:v>SCHICK XTREME 3 SENSITIVE GREEN BLACK 3 BLADE DISPOSABLE SENSITIVE 8CT</c:v>
                  </c:pt>
                  <c:pt idx="4">
                    <c:v>SCHICK XTREME 3 SENSITIVE GREEN 3 BLADE DISPOSABLE SENSITIVE 8CT</c:v>
                  </c:pt>
                  <c:pt idx="5">
                    <c:v>SCHICK XTREME 3 SENSITIVE BLACK GREEN 3 BLADE DISPOSABLE SENSITIVE 12CT</c:v>
                  </c:pt>
                  <c:pt idx="6">
                    <c:v>SCHICK XTREME 2 SENSITIVE 2 BLADE DISPOSABLE NORMAL 12CT</c:v>
                  </c:pt>
                  <c:pt idx="7">
                    <c:v>HYDRO 5 SENSITIVE 5 BLADE REFILL SENSITIVE 4CT</c:v>
                  </c:pt>
                  <c:pt idx="8">
                    <c:v>HYDRO 5 SENSITIVE 5 BLADE REFILL SENSITIVE 6CT</c:v>
                  </c:pt>
                  <c:pt idx="9">
                    <c:v>SCHICK XTREME 3 SENSITIVE GREEN BLACK 3 BLADE DISPOSABLE SENSITIVE 4CT</c:v>
                  </c:pt>
                  <c:pt idx="10">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Comfort 3</c:v>
                </c:pt>
                <c:pt idx="7">
                  <c:v>Van Der Hagen</c:v>
                </c:pt>
                <c:pt idx="8">
                  <c:v>Cremo</c:v>
                </c:pt>
                <c:pt idx="9">
                  <c:v>Others</c:v>
                </c:pt>
              </c:strCache>
            </c:strRef>
          </c:cat>
          <c:val>
            <c:numRef>
              <c:f>Sheet1!$B$2:$B$11</c:f>
              <c:numCache>
                <c:formatCode>General</c:formatCode>
                <c:ptCount val="10"/>
                <c:pt idx="0">
                  <c:v>0.6182635657766159</c:v>
                </c:pt>
                <c:pt idx="1">
                  <c:v>0.18722367556157865</c:v>
                </c:pt>
                <c:pt idx="2">
                  <c:v>5.8906404971494332E-2</c:v>
                </c:pt>
                <c:pt idx="3">
                  <c:v>3.8609099767900716E-2</c:v>
                </c:pt>
                <c:pt idx="4">
                  <c:v>3.3453458305565988E-2</c:v>
                </c:pt>
                <c:pt idx="5">
                  <c:v>2.9502036126015829E-2</c:v>
                </c:pt>
                <c:pt idx="6">
                  <c:v>1.7170217377920939E-2</c:v>
                </c:pt>
                <c:pt idx="7">
                  <c:v>1.6700167215949389E-2</c:v>
                </c:pt>
                <c:pt idx="8">
                  <c:v>1.6968693627681167E-4</c:v>
                </c:pt>
                <c:pt idx="9">
                  <c:v>1.687960681394092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Comfort 3</c:v>
                </c:pt>
                <c:pt idx="7">
                  <c:v>Van Der Hagen</c:v>
                </c:pt>
                <c:pt idx="8">
                  <c:v>Cremo</c:v>
                </c:pt>
                <c:pt idx="9">
                  <c:v>Others</c:v>
                </c:pt>
              </c:strCache>
            </c:strRef>
          </c:cat>
          <c:val>
            <c:numRef>
              <c:f>Sheet1!$C$2:$C$11</c:f>
              <c:numCache>
                <c:formatCode>General</c:formatCode>
                <c:ptCount val="10"/>
                <c:pt idx="0">
                  <c:v>0.4852591535901094</c:v>
                </c:pt>
                <c:pt idx="1">
                  <c:v>0.1455064194008559</c:v>
                </c:pt>
                <c:pt idx="2">
                  <c:v>0.11222063718497384</c:v>
                </c:pt>
                <c:pt idx="3">
                  <c:v>5.2306229196386118E-2</c:v>
                </c:pt>
                <c:pt idx="4">
                  <c:v>6.7047075606276735E-2</c:v>
                </c:pt>
                <c:pt idx="5">
                  <c:v>6.6096053257251541E-2</c:v>
                </c:pt>
                <c:pt idx="6">
                  <c:v>3.5901093675701379E-2</c:v>
                </c:pt>
                <c:pt idx="7">
                  <c:v>3.2334759866856869E-2</c:v>
                </c:pt>
                <c:pt idx="8">
                  <c:v>2.6153114598193058E-3</c:v>
                </c:pt>
                <c:pt idx="9">
                  <c:v>7.1326676176890148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Comfort 3</c:v>
                </c:pt>
                <c:pt idx="7">
                  <c:v>Van Der Hagen</c:v>
                </c:pt>
                <c:pt idx="8">
                  <c:v>Cremo</c:v>
                </c:pt>
                <c:pt idx="9">
                  <c:v>Others</c:v>
                </c:pt>
              </c:strCache>
            </c:strRef>
          </c:cat>
          <c:val>
            <c:numRef>
              <c:f>Sheet1!$D$2:$D$11</c:f>
              <c:numCache>
                <c:formatCode>General</c:formatCode>
                <c:ptCount val="10"/>
                <c:pt idx="0">
                  <c:v>78.487425177733641</c:v>
                </c:pt>
                <c:pt idx="1">
                  <c:v>77.717958994453255</c:v>
                </c:pt>
                <c:pt idx="2">
                  <c:v>190.50668130108949</c:v>
                </c:pt>
                <c:pt idx="3">
                  <c:v>135.47642786500057</c:v>
                </c:pt>
                <c:pt idx="4">
                  <c:v>200.41896713297783</c:v>
                </c:pt>
                <c:pt idx="5">
                  <c:v>224.03895437903674</c:v>
                </c:pt>
                <c:pt idx="6">
                  <c:v>209.08933699270656</c:v>
                </c:pt>
                <c:pt idx="7">
                  <c:v>193.61937787051474</c:v>
                </c:pt>
                <c:pt idx="8">
                  <c:v>1541.2568092766594</c:v>
                </c:pt>
                <c:pt idx="9">
                  <c:v>42256.12418766840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DA52501-316B-43F1-BD78-C6A0D12E6E4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9D590C4-AFCF-4F0F-AAC0-F46ECED42B2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E645DC-5A7E-4D86-9922-9C63EC915D6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BA15BA-7D54-4AAE-8F96-F5A1B614392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8146AF6-2758-4F0A-85D5-FAAFE14D873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0818526-ABE5-4018-812C-7418CDA400E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1498DA2-7A86-432E-B37A-3084BF74AE1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30C467A-95CB-4D85-96B4-8FB8EF0364E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A4280EE-43F5-490D-957E-62602E4F7F5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9145D8C-17E3-489E-8974-B48851DADFA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53</c:v>
                </c:pt>
                <c:pt idx="1">
                  <c:v>0.91</c:v>
                </c:pt>
                <c:pt idx="2">
                  <c:v>0.74</c:v>
                </c:pt>
                <c:pt idx="3">
                  <c:v>0.41</c:v>
                </c:pt>
                <c:pt idx="4">
                  <c:v>0.65</c:v>
                </c:pt>
                <c:pt idx="5">
                  <c:v>0.95</c:v>
                </c:pt>
                <c:pt idx="6">
                  <c:v>0.82</c:v>
                </c:pt>
                <c:pt idx="7">
                  <c:v>0.95</c:v>
                </c:pt>
                <c:pt idx="8">
                  <c:v>0.4</c:v>
                </c:pt>
                <c:pt idx="9">
                  <c:v>0.65</c:v>
                </c:pt>
              </c:numCache>
            </c:numRef>
          </c:xVal>
          <c:yVal>
            <c:numRef>
              <c:f>Sheet1!$B$2:$B$11</c:f>
              <c:numCache>
                <c:formatCode>General</c:formatCode>
                <c:ptCount val="10"/>
                <c:pt idx="0">
                  <c:v>3302.6981132075471</c:v>
                </c:pt>
                <c:pt idx="1">
                  <c:v>5807.0109890109889</c:v>
                </c:pt>
                <c:pt idx="2">
                  <c:v>2923.9189189189192</c:v>
                </c:pt>
                <c:pt idx="3">
                  <c:v>1148.3170731707321</c:v>
                </c:pt>
                <c:pt idx="4">
                  <c:v>3479.353846153846</c:v>
                </c:pt>
                <c:pt idx="5">
                  <c:v>3081.3052631578948</c:v>
                </c:pt>
                <c:pt idx="6">
                  <c:v>2862.6341463414628</c:v>
                </c:pt>
                <c:pt idx="7">
                  <c:v>1727.1789473684209</c:v>
                </c:pt>
                <c:pt idx="8">
                  <c:v>3361.8</c:v>
                </c:pt>
                <c:pt idx="9">
                  <c:v>4936.0153846153844</c:v>
                </c:pt>
              </c:numCache>
            </c:numRef>
          </c:yVal>
          <c:bubbleSize>
            <c:numRef>
              <c:f>Sheet1!$C$2:$C$11</c:f>
              <c:numCache>
                <c:formatCode>General</c:formatCode>
                <c:ptCount val="10"/>
                <c:pt idx="0">
                  <c:v>89489.170399999974</c:v>
                </c:pt>
                <c:pt idx="1">
                  <c:v>272475.62770000001</c:v>
                </c:pt>
                <c:pt idx="2">
                  <c:v>119428.2879</c:v>
                </c:pt>
                <c:pt idx="3">
                  <c:v>28301.748800000001</c:v>
                </c:pt>
                <c:pt idx="4">
                  <c:v>125001.96189999999</c:v>
                </c:pt>
                <c:pt idx="5">
                  <c:v>174687.43780000001</c:v>
                </c:pt>
                <c:pt idx="6">
                  <c:v>106130.8149</c:v>
                </c:pt>
                <c:pt idx="7">
                  <c:v>114348.9244</c:v>
                </c:pt>
                <c:pt idx="8">
                  <c:v>86297.400299999994</c:v>
                </c:pt>
                <c:pt idx="9">
                  <c:v>182797.47649999999</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pt idx="1">
                    <c:v>EQUATE CALIBER 5 5 BLADE DISPOSABLE NORMAL 3CT</c:v>
                  </c:pt>
                  <c:pt idx="2">
                    <c:v>EQUATE CALIBER 3 3 BLADE DISPOSABLE NORMAL 3CT</c:v>
                  </c:pt>
                  <c:pt idx="3">
                    <c:v>EQUATE EASY FIT 5 5 BLADE REFILL NORMAL 12CT</c:v>
                  </c:pt>
                  <c:pt idx="4">
                    <c:v>EQUATE SPEED 3 SENSITIVE GREEN 3 BLADE DISPOSABLE SENSITIVE 8CT</c:v>
                  </c:pt>
                  <c:pt idx="5">
                    <c:v>EQUATE TB (TWIN BLADE) BLUE 2 BLADE DISPOSABLE NORMAL 12CT</c:v>
                  </c:pt>
                  <c:pt idx="6">
                    <c:v>EQUATE SPEED 3 SENSITIVE GREEN 3 BLADE DISPOSABLE SENSITIVE 4CT</c:v>
                  </c:pt>
                  <c:pt idx="7">
                    <c:v>EQUATE TB (TWIN BLADE) BLUE 2 BLADE DISPOSABLE NORMAL 5CT</c:v>
                  </c:pt>
                  <c:pt idx="8">
                    <c:v>EQUATE EASY FIT 5 5 BLADE REFILL NORMAL 8CT</c:v>
                  </c:pt>
                  <c:pt idx="9">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D0E028-768D-4D36-B3CA-2400962A96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EDCD940-69A6-41F8-9965-8D0D737AFB2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11D9FBE-D07D-4D1C-BC12-C7807688C9E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F386851-CB18-4CF6-8CDA-7FBDA12977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F68456-A88F-4745-9867-35D743F8374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7C72907-1F95-4F70-950F-166E7111F03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1B5C0C8-3D2B-43F6-9C78-ACB4CECAB1F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2B94EC8-53BB-43A0-9DDB-18EB2E2398F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685A07A-9448-4E21-830F-40FFF76FA7E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EAE9A29-3165-483B-88AA-57D255327D7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4</c:v>
                </c:pt>
                <c:pt idx="1">
                  <c:v>0.04</c:v>
                </c:pt>
                <c:pt idx="2">
                  <c:v>0.64</c:v>
                </c:pt>
                <c:pt idx="3">
                  <c:v>0.31</c:v>
                </c:pt>
                <c:pt idx="4">
                  <c:v>0.95</c:v>
                </c:pt>
                <c:pt idx="5">
                  <c:v>0.05</c:v>
                </c:pt>
                <c:pt idx="6">
                  <c:v>0.84</c:v>
                </c:pt>
                <c:pt idx="7">
                  <c:v>0.04</c:v>
                </c:pt>
                <c:pt idx="8">
                  <c:v>0.87</c:v>
                </c:pt>
                <c:pt idx="9">
                  <c:v>0.68</c:v>
                </c:pt>
                <c:pt idx="10">
                  <c:v>0.94</c:v>
                </c:pt>
                <c:pt idx="11">
                  <c:v>0.79</c:v>
                </c:pt>
                <c:pt idx="12">
                  <c:v>0.88</c:v>
                </c:pt>
                <c:pt idx="13">
                  <c:v>0.83</c:v>
                </c:pt>
              </c:numCache>
            </c:numRef>
          </c:xVal>
          <c:yVal>
            <c:numRef>
              <c:f>Sheet1!$B$2:$B$15</c:f>
              <c:numCache>
                <c:formatCode>General</c:formatCode>
                <c:ptCount val="14"/>
                <c:pt idx="0">
                  <c:v>874</c:v>
                </c:pt>
                <c:pt idx="1">
                  <c:v>1094.75</c:v>
                </c:pt>
                <c:pt idx="2">
                  <c:v>574.65625</c:v>
                </c:pt>
                <c:pt idx="3">
                  <c:v>5275.4193548387093</c:v>
                </c:pt>
                <c:pt idx="4">
                  <c:v>3032.8736842105259</c:v>
                </c:pt>
                <c:pt idx="5">
                  <c:v>999.2</c:v>
                </c:pt>
                <c:pt idx="6">
                  <c:v>506.07142857142861</c:v>
                </c:pt>
                <c:pt idx="7">
                  <c:v>1055.75</c:v>
                </c:pt>
                <c:pt idx="8">
                  <c:v>3945.977011494253</c:v>
                </c:pt>
                <c:pt idx="9">
                  <c:v>3373.205882352941</c:v>
                </c:pt>
                <c:pt idx="10">
                  <c:v>4372</c:v>
                </c:pt>
                <c:pt idx="11">
                  <c:v>4560.0253164556962</c:v>
                </c:pt>
                <c:pt idx="12">
                  <c:v>413.27272727272731</c:v>
                </c:pt>
                <c:pt idx="13">
                  <c:v>3435.0481927710839</c:v>
                </c:pt>
              </c:numCache>
            </c:numRef>
          </c:yVal>
          <c:bubbleSize>
            <c:numRef>
              <c:f>Sheet1!$C$2:$C$15</c:f>
              <c:numCache>
                <c:formatCode>General</c:formatCode>
                <c:ptCount val="14"/>
                <c:pt idx="0">
                  <c:v>2412.9196000000002</c:v>
                </c:pt>
                <c:pt idx="1">
                  <c:v>3101.6833000000001</c:v>
                </c:pt>
                <c:pt idx="2">
                  <c:v>23760.718799999999</c:v>
                </c:pt>
                <c:pt idx="3">
                  <c:v>127660.91680000001</c:v>
                </c:pt>
                <c:pt idx="4">
                  <c:v>180016.2997</c:v>
                </c:pt>
                <c:pt idx="5">
                  <c:v>3205.0187999999998</c:v>
                </c:pt>
                <c:pt idx="6">
                  <c:v>28611.328399999999</c:v>
                </c:pt>
                <c:pt idx="7">
                  <c:v>3367.1781000000001</c:v>
                </c:pt>
                <c:pt idx="8">
                  <c:v>239980.5024</c:v>
                </c:pt>
                <c:pt idx="9">
                  <c:v>144963.85519999999</c:v>
                </c:pt>
                <c:pt idx="10">
                  <c:v>263862.60160000011</c:v>
                </c:pt>
                <c:pt idx="11">
                  <c:v>244698.5876</c:v>
                </c:pt>
                <c:pt idx="12">
                  <c:v>23392.570500000002</c:v>
                </c:pt>
                <c:pt idx="13">
                  <c:v>173389.4657</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HYDRO 5 SENSITIVE GRAY HOLIDAY GIFT PACK 5 BLADE RAZOR SENSITIVE 3CT</c:v>
                  </c:pt>
                  <c:pt idx="2">
                    <c:v>SCHICK XTREME 3 SENSITIVE GREEN BLACK 3 BLADE DISPOSABLE SENSITIVE 12CT</c:v>
                  </c:pt>
                  <c:pt idx="3">
                    <c:v>HYDRO 5 SENSITIVE 5 BLADE REFILL SENSITIVE 12CT</c:v>
                  </c:pt>
                  <c:pt idx="4">
                    <c:v>SCHICK XTREME 3 SENSITIVE BLACK 3 BLADE DISPOSABLE SENSITIVE 4CT</c:v>
                  </c:pt>
                  <c:pt idx="5">
                    <c:v>SCHICK HYDRO 3 SENSITIVE 3 BLADE RAZOR SENSITIVE 4CT</c:v>
                  </c:pt>
                  <c:pt idx="6">
                    <c:v>SCHICK XTREME 3 SENSITIVE GREEN BLACK 3 BLADE DISPOSABLE SENSITIVE 8CT</c:v>
                  </c:pt>
                  <c:pt idx="7">
                    <c:v>SCHICK HYDRO 3 SENSITIVE 3 BLADE REFILL SENSITIVE 5CT</c:v>
                  </c:pt>
                  <c:pt idx="8">
                    <c:v>SCHICK XTREME 3 SENSITIVE GREEN 3 BLADE DISPOSABLE SENSITIVE 8CT</c:v>
                  </c:pt>
                  <c:pt idx="9">
                    <c:v>SCHICK XTREME 3 SENSITIVE BLACK GREEN 3 BLADE DISPOSABLE SENSITIVE 12CT</c:v>
                  </c:pt>
                  <c:pt idx="10">
                    <c:v>SCHICK XTREME 2 SENSITIVE 2 BLADE DISPOSABLE NORMAL 12CT</c:v>
                  </c:pt>
                  <c:pt idx="11">
                    <c:v>HYDRO 5 SENSITIVE 5 BLADE REFILL SENSITIVE 6CT</c:v>
                  </c:pt>
                  <c:pt idx="12">
                    <c:v>SCHICK XTREME 3 SENSITIVE GREEN BLACK 3 BLADE DISPOSABLE SENSITIVE 4CT</c:v>
                  </c:pt>
                  <c:pt idx="13">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E41148E-9ED5-4476-84E3-A1DCF2F493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6B00FDC-A432-457A-9F12-526E20A6598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A3DFC21-AA58-4A59-B295-4DEAE2F6E11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1B43752-93E4-4E44-A8FD-1EE36CFB6B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1DC80ED-10AF-4858-ACCD-075D13902CE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0C3AD78-EA42-4770-8DF6-971D8855772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3C2790E-3385-4877-A416-C1EDD4EA7DA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11C73D-3974-4FD5-AE85-C7370398AFE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1ECF428-55FB-4DF3-B8CA-8E4F43AE40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F4D6791-AE71-4F72-BF25-21A8C20A568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5</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A60B1CB-5541-474C-8928-181A711CFFA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75305A8-2B81-402A-86B5-1AA6BDD888C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5C4D79E-1F86-4617-AE76-1209031FD09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BED754-8965-4AA1-AD77-B5E217F8F4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B21B3FB-4702-4690-B13A-C016DA26F9E7}"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E6988B4-FA98-44E2-B7E0-D0629A1783F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AF883-5F83-4826-8AF9-E2C38D2F458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9FDA313-CB1B-4E6E-8730-B340D7B704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9A6737A-595A-4B35-8331-A067DA8E572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733B7A0-D623-4693-88DC-F9F72BFDFF8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7</c:v>
                </c:pt>
                <c:pt idx="1">
                  <c:v>0.98</c:v>
                </c:pt>
                <c:pt idx="2">
                  <c:v>0.95</c:v>
                </c:pt>
                <c:pt idx="3">
                  <c:v>0.67</c:v>
                </c:pt>
                <c:pt idx="4">
                  <c:v>0.9</c:v>
                </c:pt>
                <c:pt idx="5">
                  <c:v>0.99</c:v>
                </c:pt>
                <c:pt idx="6">
                  <c:v>0.94</c:v>
                </c:pt>
                <c:pt idx="7">
                  <c:v>0.97</c:v>
                </c:pt>
                <c:pt idx="8">
                  <c:v>0.54</c:v>
                </c:pt>
                <c:pt idx="9">
                  <c:v>0.83</c:v>
                </c:pt>
              </c:numCache>
            </c:numRef>
          </c:xVal>
          <c:yVal>
            <c:numRef>
              <c:f>Sheet1!$B$2:$B$11</c:f>
              <c:numCache>
                <c:formatCode>General</c:formatCode>
                <c:ptCount val="10"/>
                <c:pt idx="0">
                  <c:v>2192.542857142857</c:v>
                </c:pt>
                <c:pt idx="1">
                  <c:v>6191.2653061224491</c:v>
                </c:pt>
                <c:pt idx="2">
                  <c:v>2490.9578947368418</c:v>
                </c:pt>
                <c:pt idx="3">
                  <c:v>745.05970149253733</c:v>
                </c:pt>
                <c:pt idx="4">
                  <c:v>2854.1777777777779</c:v>
                </c:pt>
                <c:pt idx="5">
                  <c:v>3147.9191919191921</c:v>
                </c:pt>
                <c:pt idx="6">
                  <c:v>2380.0744680851062</c:v>
                </c:pt>
                <c:pt idx="7">
                  <c:v>1268.855670103093</c:v>
                </c:pt>
                <c:pt idx="8">
                  <c:v>2624.6851851851852</c:v>
                </c:pt>
                <c:pt idx="9">
                  <c:v>3421.4096385542171</c:v>
                </c:pt>
              </c:numCache>
            </c:numRef>
          </c:yVal>
          <c:bubbleSize>
            <c:numRef>
              <c:f>Sheet1!$C$2:$C$11</c:f>
              <c:numCache>
                <c:formatCode>General</c:formatCode>
                <c:ptCount val="10"/>
                <c:pt idx="0">
                  <c:v>78650.092899999989</c:v>
                </c:pt>
                <c:pt idx="1">
                  <c:v>310226.51689999999</c:v>
                </c:pt>
                <c:pt idx="2">
                  <c:v>129385.6139</c:v>
                </c:pt>
                <c:pt idx="3">
                  <c:v>30082.322400000001</c:v>
                </c:pt>
                <c:pt idx="4">
                  <c:v>141820.57579999999</c:v>
                </c:pt>
                <c:pt idx="5">
                  <c:v>185958.4334000001</c:v>
                </c:pt>
                <c:pt idx="6">
                  <c:v>100468.05989999999</c:v>
                </c:pt>
                <c:pt idx="7">
                  <c:v>85078.340200000006</c:v>
                </c:pt>
                <c:pt idx="8">
                  <c:v>85603.147900000011</c:v>
                </c:pt>
                <c:pt idx="9">
                  <c:v>162101.8536</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pt idx="1">
                    <c:v>EQUATE CALIBER 5 5 BLADE DISPOSABLE NORMAL 3CT</c:v>
                  </c:pt>
                  <c:pt idx="2">
                    <c:v>EQUATE CALIBER 3 3 BLADE DISPOSABLE NORMAL 3CT</c:v>
                  </c:pt>
                  <c:pt idx="3">
                    <c:v>EQUATE EASY FIT 5 5 BLADE REFILL NORMAL 12CT</c:v>
                  </c:pt>
                  <c:pt idx="4">
                    <c:v>EQUATE SPEED 3 SENSITIVE GREEN 3 BLADE DISPOSABLE SENSITIVE 8CT</c:v>
                  </c:pt>
                  <c:pt idx="5">
                    <c:v>EQUATE TB (TWIN BLADE) BLUE 2 BLADE DISPOSABLE NORMAL 12CT</c:v>
                  </c:pt>
                  <c:pt idx="6">
                    <c:v>EQUATE SPEED 3 SENSITIVE GREEN 3 BLADE DISPOSABLE SENSITIVE 4CT</c:v>
                  </c:pt>
                  <c:pt idx="7">
                    <c:v>EQUATE TB (TWIN BLADE) BLUE 2 BLADE DISPOSABLE NORMAL 5CT</c:v>
                  </c:pt>
                  <c:pt idx="8">
                    <c:v>EQUATE EASY FIT 5 5 BLADE REFILL NORMAL 8CT</c:v>
                  </c:pt>
                  <c:pt idx="9">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0235E79-53F2-43EF-9604-D056A4807D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BB79D28-9B68-4214-B8BA-8A9F0F4CF29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681C7CA-9C42-42BF-98DA-3E6D9F83507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E8D73CB-731C-4073-8C93-937C201B060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D93BD2-2248-4092-BDBA-03E7B7392FCA}"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11B84FA-9089-4B61-8AAE-36130947255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5738864-AC00-4E83-8FDA-725A42AFF5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1402F6-5DFF-4D3B-8C21-8EC0C0C9AC1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D6E5739-540D-40AE-A43B-3416ECAC283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D717AFD-22D9-4B2E-B2CC-D00E60D8D5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01</c:v>
                </c:pt>
                <c:pt idx="1">
                  <c:v>0.87</c:v>
                </c:pt>
                <c:pt idx="2">
                  <c:v>0.91</c:v>
                </c:pt>
                <c:pt idx="3">
                  <c:v>0.66</c:v>
                </c:pt>
                <c:pt idx="4">
                  <c:v>0.49</c:v>
                </c:pt>
                <c:pt idx="5">
                  <c:v>0.96</c:v>
                </c:pt>
                <c:pt idx="6">
                  <c:v>0.06</c:v>
                </c:pt>
                <c:pt idx="7">
                  <c:v>0.86</c:v>
                </c:pt>
                <c:pt idx="8">
                  <c:v>0.05</c:v>
                </c:pt>
                <c:pt idx="9">
                  <c:v>0.87</c:v>
                </c:pt>
                <c:pt idx="10">
                  <c:v>0.01</c:v>
                </c:pt>
                <c:pt idx="11">
                  <c:v>0.73</c:v>
                </c:pt>
                <c:pt idx="12">
                  <c:v>0.95</c:v>
                </c:pt>
                <c:pt idx="13">
                  <c:v>0.01</c:v>
                </c:pt>
                <c:pt idx="14">
                  <c:v>0.8</c:v>
                </c:pt>
                <c:pt idx="15">
                  <c:v>0.91</c:v>
                </c:pt>
                <c:pt idx="16">
                  <c:v>0.87</c:v>
                </c:pt>
              </c:numCache>
            </c:numRef>
          </c:xVal>
          <c:yVal>
            <c:numRef>
              <c:f>Sheet1!$B$2:$B$18</c:f>
              <c:numCache>
                <c:formatCode>General</c:formatCode>
                <c:ptCount val="17"/>
                <c:pt idx="0">
                  <c:v>1414</c:v>
                </c:pt>
                <c:pt idx="1">
                  <c:v>12997.022988505751</c:v>
                </c:pt>
                <c:pt idx="2">
                  <c:v>14923.912087912089</c:v>
                </c:pt>
                <c:pt idx="3">
                  <c:v>6147.757575757576</c:v>
                </c:pt>
                <c:pt idx="4">
                  <c:v>66122.918367346938</c:v>
                </c:pt>
                <c:pt idx="5">
                  <c:v>36195.333333333343</c:v>
                </c:pt>
                <c:pt idx="6">
                  <c:v>19149.166666666672</c:v>
                </c:pt>
                <c:pt idx="7">
                  <c:v>5750.2906976744189</c:v>
                </c:pt>
                <c:pt idx="8">
                  <c:v>19381.2</c:v>
                </c:pt>
                <c:pt idx="9">
                  <c:v>42870.586206896551</c:v>
                </c:pt>
                <c:pt idx="10">
                  <c:v>789</c:v>
                </c:pt>
                <c:pt idx="11">
                  <c:v>36036.28767123288</c:v>
                </c:pt>
                <c:pt idx="12">
                  <c:v>44077.368421052633</c:v>
                </c:pt>
                <c:pt idx="13">
                  <c:v>4359</c:v>
                </c:pt>
                <c:pt idx="14">
                  <c:v>57541.387499999997</c:v>
                </c:pt>
                <c:pt idx="15">
                  <c:v>5099.131868131868</c:v>
                </c:pt>
                <c:pt idx="16">
                  <c:v>41378.275862068956</c:v>
                </c:pt>
              </c:numCache>
            </c:numRef>
          </c:yVal>
          <c:bubbleSize>
            <c:numRef>
              <c:f>Sheet1!$C$2:$C$18</c:f>
              <c:numCache>
                <c:formatCode>General</c:formatCode>
                <c:ptCount val="17"/>
                <c:pt idx="0">
                  <c:v>2069.6071999999999</c:v>
                </c:pt>
                <c:pt idx="1">
                  <c:v>836275.50839999993</c:v>
                </c:pt>
                <c:pt idx="2">
                  <c:v>1055523.5941999999</c:v>
                </c:pt>
                <c:pt idx="3">
                  <c:v>265583.51819999999</c:v>
                </c:pt>
                <c:pt idx="4">
                  <c:v>2525616.0184999998</c:v>
                </c:pt>
                <c:pt idx="5">
                  <c:v>2189858.2104000002</c:v>
                </c:pt>
                <c:pt idx="6">
                  <c:v>72621.147599999997</c:v>
                </c:pt>
                <c:pt idx="7">
                  <c:v>336996.18599999999</c:v>
                </c:pt>
                <c:pt idx="8">
                  <c:v>69360.267600000006</c:v>
                </c:pt>
                <c:pt idx="9">
                  <c:v>2631441.1776000001</c:v>
                </c:pt>
                <c:pt idx="10">
                  <c:v>1733.2224000000001</c:v>
                </c:pt>
                <c:pt idx="11">
                  <c:v>1682330.8056999999</c:v>
                </c:pt>
                <c:pt idx="12">
                  <c:v>2717686.2453999999</c:v>
                </c:pt>
                <c:pt idx="13">
                  <c:v>6169.4463999999998</c:v>
                </c:pt>
                <c:pt idx="14">
                  <c:v>3125406.0482000001</c:v>
                </c:pt>
                <c:pt idx="15">
                  <c:v>302112.82919999998</c:v>
                </c:pt>
                <c:pt idx="16">
                  <c:v>2189444.7601999999</c:v>
                </c:pt>
              </c:numCache>
            </c:numRef>
          </c:bubbleSize>
          <c:bubble3D val="0"/>
          <c:extLst>
            <c:ext xmlns:c15="http://schemas.microsoft.com/office/drawing/2012/chart" uri="{02D57815-91ED-43cb-92C2-25804820EDAC}">
              <c15:datalabelsRange>
                <c15:f>Sheet1!$E$2:$E$21</c15:f>
                <c15:dlblRangeCache>
                  <c:ptCount val="20"/>
                  <c:pt idx="0">
                    <c:v>HYDRO 5 SENSITIVE 5 BLADE RAZOR SENSITIVE 2CT</c:v>
                  </c:pt>
                  <c:pt idx="1">
                    <c:v>SCHICK XTREME 3 SENSITIVE GREEN HOLIDAY GIFT PACK 3 BLADE DISPOSABLE SENSITIVE 8CT</c:v>
                  </c:pt>
                  <c:pt idx="2">
                    <c:v>HYDRO 5 SENSITIVE GRAY HOLIDAY GIFT PACK 5 BLADE RAZOR SENSITIVE 3CT</c:v>
                  </c:pt>
                  <c:pt idx="3">
                    <c:v>SCHICK XTREME 3 SENSITIVE GREEN BLACK 3 BLADE DISPOSABLE SENSITIVE 12CT</c:v>
                  </c:pt>
                  <c:pt idx="4">
                    <c:v>HYDRO 5 SENSITIVE 5 BLADE REFILL SENSITIVE 12CT</c:v>
                  </c:pt>
                  <c:pt idx="5">
                    <c:v>SCHICK XTREME 3 SENSITIVE BLACK 3 BLADE DISPOSABLE SENSITIVE 4CT</c:v>
                  </c:pt>
                  <c:pt idx="6">
                    <c:v>SCHICK HYDRO 3 SENSITIVE 3 BLADE RAZOR SENSITIVE 4CT</c:v>
                  </c:pt>
                  <c:pt idx="7">
                    <c:v>SCHICK XTREME 3 SENSITIVE GREEN BLACK 3 BLADE DISPOSABLE SENSITIVE 8CT</c:v>
                  </c:pt>
                  <c:pt idx="8">
                    <c:v>SCHICK HYDRO 3 SENSITIVE 3 BLADE REFILL SENSITIVE 5CT</c:v>
                  </c:pt>
                  <c:pt idx="9">
                    <c:v>SCHICK XTREME 3 SENSITIVE GREEN 3 BLADE DISPOSABLE SENSITIVE 8CT</c:v>
                  </c:pt>
                  <c:pt idx="10">
                    <c:v>HYDRO 5 DRY SKIN 5 BLADE REFILL NORMAL 4CT</c:v>
                  </c:pt>
                  <c:pt idx="11">
                    <c:v>SCHICK XTREME 3 SENSITIVE BLACK GREEN 3 BLADE DISPOSABLE SENSITIVE 12CT</c:v>
                  </c:pt>
                  <c:pt idx="12">
                    <c:v>SCHICK XTREME 2 SENSITIVE 2 BLADE DISPOSABLE NORMAL 12CT</c:v>
                  </c:pt>
                  <c:pt idx="13">
                    <c:v>HYDRO 5 SENSITIVE 5 BLADE REFILL SENSITIVE 4CT</c:v>
                  </c:pt>
                  <c:pt idx="14">
                    <c:v>HYDRO 5 SENSITIVE 5 BLADE REFILL SENSITIVE 6CT</c:v>
                  </c:pt>
                  <c:pt idx="15">
                    <c:v>SCHICK XTREME 3 SENSITIVE GREEN BLACK 3 BLADE DISPOSABLE SENSITIVE 4CT</c:v>
                  </c:pt>
                  <c:pt idx="16">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15505D4-6C10-488C-A86C-6FCBA79173B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D8F2C24-7269-474C-870D-7BDEEC5FE48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CDFF453-C561-4A66-9958-8DEF4EE2DB0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955379C-0A9D-491E-822D-EAD0C1CCAA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DC72717-E2C6-4796-B5DF-BFF9C285236F}"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EF7ED17-8610-4B25-9FF2-5CFF1F2C330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698FA75-B9F3-4331-94E3-C2948C15F92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861077F-7440-4627-AE3E-E006A693951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7FFE3BE-C757-40D8-B96A-2A1BE9B24D7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3B0CF46-E753-40CF-87FC-8FED7146AD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7.0000000000000007E-2</c:v>
                </c:pt>
                <c:pt idx="1">
                  <c:v>0.13</c:v>
                </c:pt>
              </c:numCache>
            </c:numRef>
          </c:xVal>
          <c:yVal>
            <c:numRef>
              <c:f>Sheet1!$B$2:$B$3</c:f>
              <c:numCache>
                <c:formatCode>General</c:formatCode>
                <c:ptCount val="2"/>
                <c:pt idx="0">
                  <c:v>5990.2857142857138</c:v>
                </c:pt>
                <c:pt idx="1">
                  <c:v>6680.8461538461543</c:v>
                </c:pt>
              </c:numCache>
            </c:numRef>
          </c:yVal>
          <c:bubbleSize>
            <c:numRef>
              <c:f>Sheet1!$C$2:$C$3</c:f>
              <c:numCache>
                <c:formatCode>General</c:formatCode>
                <c:ptCount val="2"/>
                <c:pt idx="0">
                  <c:v>27404.931199999999</c:v>
                </c:pt>
                <c:pt idx="1">
                  <c:v>55007.155300000013</c:v>
                </c:pt>
              </c:numCache>
            </c:numRef>
          </c:bubbleSize>
          <c:bubble3D val="0"/>
          <c:extLst>
            <c:ext xmlns:c15="http://schemas.microsoft.com/office/drawing/2012/chart" uri="{02D57815-91ED-43cb-92C2-25804820EDAC}">
              <c15:datalabelsRange>
                <c15:f>Sheet1!$E$2:$E$21</c15:f>
                <c15:dlblRangeCache>
                  <c:ptCount val="20"/>
                  <c:pt idx="0">
                    <c:v>CREMO 5 BLADE REFILL NORMAL 4CT</c:v>
                  </c:pt>
                  <c:pt idx="1">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4B207EB-F209-493A-BCBD-1471813A0DE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9F28A25-C9E1-4474-84D2-BE1D6531AC3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19B267E-8889-446B-9053-2620BF8162B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2BEE499-584C-40B4-91B5-8F71B4A8336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131CD1B-95E8-45A3-9CCA-4A4B8CA960D2}"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A07BCB7-17FF-4781-A695-A39AB1FA48D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24A573F-0C9C-49F7-9A9F-00929A36F21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23CD8C5-B296-45D7-B2DC-DAE9E54B0CA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FE0E469-FA96-431C-B0FE-0900470520D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A8EF794-FE3C-43C8-B14C-BC4C15D891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77</c:v>
                </c:pt>
                <c:pt idx="1">
                  <c:v>0.99</c:v>
                </c:pt>
                <c:pt idx="2">
                  <c:v>0.95</c:v>
                </c:pt>
                <c:pt idx="3">
                  <c:v>0.71</c:v>
                </c:pt>
                <c:pt idx="4">
                  <c:v>0.93</c:v>
                </c:pt>
                <c:pt idx="5">
                  <c:v>0.99</c:v>
                </c:pt>
                <c:pt idx="6">
                  <c:v>0.97</c:v>
                </c:pt>
                <c:pt idx="7">
                  <c:v>0.98</c:v>
                </c:pt>
                <c:pt idx="8">
                  <c:v>0.6</c:v>
                </c:pt>
                <c:pt idx="9">
                  <c:v>0.86</c:v>
                </c:pt>
              </c:numCache>
            </c:numRef>
          </c:xVal>
          <c:yVal>
            <c:numRef>
              <c:f>Sheet1!$B$2:$B$11</c:f>
              <c:numCache>
                <c:formatCode>General</c:formatCode>
                <c:ptCount val="10"/>
                <c:pt idx="0">
                  <c:v>26568.493506493509</c:v>
                </c:pt>
                <c:pt idx="1">
                  <c:v>76941.121212121216</c:v>
                </c:pt>
                <c:pt idx="2">
                  <c:v>29486.863157894739</c:v>
                </c:pt>
                <c:pt idx="3">
                  <c:v>8564.5633802816901</c:v>
                </c:pt>
                <c:pt idx="4">
                  <c:v>33695.247311827959</c:v>
                </c:pt>
                <c:pt idx="5">
                  <c:v>32799.737373737371</c:v>
                </c:pt>
                <c:pt idx="6">
                  <c:v>32042.247422680412</c:v>
                </c:pt>
                <c:pt idx="7">
                  <c:v>14956.693877551021</c:v>
                </c:pt>
                <c:pt idx="8">
                  <c:v>32905.133333333331</c:v>
                </c:pt>
                <c:pt idx="9">
                  <c:v>46244.011627906977</c:v>
                </c:pt>
              </c:numCache>
            </c:numRef>
          </c:yVal>
          <c:bubbleSize>
            <c:numRef>
              <c:f>Sheet1!$C$2:$C$11</c:f>
              <c:numCache>
                <c:formatCode>General</c:formatCode>
                <c:ptCount val="10"/>
                <c:pt idx="0">
                  <c:v>1046552.1158</c:v>
                </c:pt>
                <c:pt idx="1">
                  <c:v>3936071.3594</c:v>
                </c:pt>
                <c:pt idx="2">
                  <c:v>1549808.4678</c:v>
                </c:pt>
                <c:pt idx="3">
                  <c:v>365615.01729999989</c:v>
                </c:pt>
                <c:pt idx="4">
                  <c:v>1730514.1758999999</c:v>
                </c:pt>
                <c:pt idx="5">
                  <c:v>1937934.2557999999</c:v>
                </c:pt>
                <c:pt idx="6">
                  <c:v>1407622.4701</c:v>
                </c:pt>
                <c:pt idx="7">
                  <c:v>1029392.1368</c:v>
                </c:pt>
                <c:pt idx="8">
                  <c:v>1171834.1069</c:v>
                </c:pt>
                <c:pt idx="9">
                  <c:v>2266539.6035000002</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pt idx="1">
                    <c:v>EQUATE CALIBER 5 5 BLADE DISPOSABLE NORMAL 3CT</c:v>
                  </c:pt>
                  <c:pt idx="2">
                    <c:v>EQUATE CALIBER 3 3 BLADE DISPOSABLE NORMAL 3CT</c:v>
                  </c:pt>
                  <c:pt idx="3">
                    <c:v>EQUATE EASY FIT 5 5 BLADE REFILL NORMAL 12CT</c:v>
                  </c:pt>
                  <c:pt idx="4">
                    <c:v>EQUATE SPEED 3 SENSITIVE GREEN 3 BLADE DISPOSABLE SENSITIVE 8CT</c:v>
                  </c:pt>
                  <c:pt idx="5">
                    <c:v>EQUATE TB (TWIN BLADE) BLUE 2 BLADE DISPOSABLE NORMAL 12CT</c:v>
                  </c:pt>
                  <c:pt idx="6">
                    <c:v>EQUATE SPEED 3 SENSITIVE GREEN 3 BLADE DISPOSABLE SENSITIVE 4CT</c:v>
                  </c:pt>
                  <c:pt idx="7">
                    <c:v>EQUATE TB (TWIN BLADE) BLUE 2 BLADE DISPOSABLE NORMAL 5CT</c:v>
                  </c:pt>
                  <c:pt idx="8">
                    <c:v>EQUATE EASY FIT 5 5 BLADE REFILL NORMAL 8CT</c:v>
                  </c:pt>
                  <c:pt idx="9">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A3C5F69-F9AB-4CC3-8723-00BB10E0B7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9FDD8F0-B69B-46F7-B9D2-550E03FAD03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2AEE76D-5713-40AA-9F89-CC98C3E9758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CF240CF-62D3-4990-BBE0-D2300925BE2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5D7ABA9-709D-48FE-ADC2-5151085EA302}"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CE3EBF0-754F-4817-8F59-98D3C72A2CF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8C52654-815D-47E5-98B4-CB061CA16F4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4A91A63-F1EE-41D7-A118-5044627F18D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83C8C5F-2185-4B14-AB93-C00E3828E4F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3C8107A-9D32-4D6E-AB14-F5D88F55CA3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75900000000000001</c:v>
                </c:pt>
                <c:pt idx="1">
                  <c:v>0.63400000000000001</c:v>
                </c:pt>
                <c:pt idx="2">
                  <c:v>0.95</c:v>
                </c:pt>
                <c:pt idx="3">
                  <c:v>0.84399999999999997</c:v>
                </c:pt>
                <c:pt idx="4">
                  <c:v>0.85699999999999998</c:v>
                </c:pt>
                <c:pt idx="5">
                  <c:v>0.70099999999999996</c:v>
                </c:pt>
                <c:pt idx="6">
                  <c:v>0.93899999999999995</c:v>
                </c:pt>
                <c:pt idx="7">
                  <c:v>0.89600000000000002</c:v>
                </c:pt>
              </c:numCache>
            </c:numRef>
          </c:xVal>
          <c:yVal>
            <c:numRef>
              <c:f>Sheet1!$B$2:$B$9</c:f>
              <c:numCache>
                <c:formatCode>General</c:formatCode>
                <c:ptCount val="8"/>
                <c:pt idx="0">
                  <c:v>14944.044795783921</c:v>
                </c:pt>
                <c:pt idx="1">
                  <c:v>7261.4353312302837</c:v>
                </c:pt>
                <c:pt idx="2">
                  <c:v>42642.536842105263</c:v>
                </c:pt>
                <c:pt idx="3">
                  <c:v>6803.5545023696686</c:v>
                </c:pt>
                <c:pt idx="4">
                  <c:v>51342.777129521593</c:v>
                </c:pt>
                <c:pt idx="5">
                  <c:v>42879.101283880183</c:v>
                </c:pt>
                <c:pt idx="6">
                  <c:v>52579.062832800853</c:v>
                </c:pt>
                <c:pt idx="7">
                  <c:v>6009.7767857142853</c:v>
                </c:pt>
              </c:numCache>
            </c:numRef>
          </c:yVal>
          <c:bubbleSize>
            <c:numRef>
              <c:f>Sheet1!$C$2:$C$9</c:f>
              <c:numCache>
                <c:formatCode>General</c:formatCode>
                <c:ptCount val="8"/>
                <c:pt idx="0">
                  <c:v>838701.68579999998</c:v>
                </c:pt>
                <c:pt idx="1">
                  <c:v>301018.2378</c:v>
                </c:pt>
                <c:pt idx="2">
                  <c:v>2551270.2801999999</c:v>
                </c:pt>
                <c:pt idx="3">
                  <c:v>390839.13900000002</c:v>
                </c:pt>
                <c:pt idx="4">
                  <c:v>3101731.2096000002</c:v>
                </c:pt>
                <c:pt idx="5">
                  <c:v>1920827.2086</c:v>
                </c:pt>
                <c:pt idx="6">
                  <c:v>3200726.89</c:v>
                </c:pt>
                <c:pt idx="7">
                  <c:v>350237.70730000013</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SCHICK XTREME 3 SENSITIVE GREEN BLACK 3 BLADE DISPOSABLE SENSITIVE 12CT</c:v>
                  </c:pt>
                  <c:pt idx="2">
                    <c:v>SCHICK XTREME 3 SENSITIVE BLACK 3 BLADE DISPOSABLE SENSITIVE 4CT</c:v>
                  </c:pt>
                  <c:pt idx="3">
                    <c:v>SCHICK XTREME 3 SENSITIVE GREEN BLACK 3 BLADE DISPOSABLE SENSITIVE 8CT</c:v>
                  </c:pt>
                  <c:pt idx="4">
                    <c:v>SCHICK XTREME 3 SENSITIVE GREEN 3 BLADE DISPOSABLE SENSITIVE 8CT</c:v>
                  </c:pt>
                  <c:pt idx="5">
                    <c:v>SCHICK XTREME 3 SENSITIVE BLACK GREEN 3 BLADE DISPOSABLE SENSITIVE 12CT</c:v>
                  </c:pt>
                  <c:pt idx="6">
                    <c:v>SCHICK XTREME 2 SENSITIVE 2 BLADE DISPOSABLE NORMAL 12CT</c:v>
                  </c:pt>
                  <c:pt idx="7">
                    <c:v>SCHICK XTREME 3 SENSITIVE GREEN BLACK 3 BLADE DISPOSABLE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AC4E211-BB48-4ECA-90D2-5AF96B86602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F634AF7-1B40-4E4E-99EF-9861C1D1A33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0236651-2A73-45D3-8363-51B1706BA5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5E7C6DA-385B-4FCA-A3D5-514F80A9EB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79E48A4-29CE-429D-B5C8-2474DFD84A7F}"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54688D7-540E-4F6A-B53A-FF0C9004B6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A0AF391-A027-45C6-91B1-B0E7116382B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0F053F0-E06C-407B-829A-6ED997552DC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274B60B-0216-464D-93FB-9A6FB4CB74F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1FDED6A-1B3F-40CE-A4A5-587B45A1292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8499999999999999</c:v>
                </c:pt>
                <c:pt idx="1">
                  <c:v>0.93799999999999994</c:v>
                </c:pt>
                <c:pt idx="2">
                  <c:v>0.91100000000000003</c:v>
                </c:pt>
                <c:pt idx="3">
                  <c:v>0.98799999999999999</c:v>
                </c:pt>
                <c:pt idx="4">
                  <c:v>0.95899999999999996</c:v>
                </c:pt>
                <c:pt idx="5">
                  <c:v>0.97799999999999998</c:v>
                </c:pt>
              </c:numCache>
            </c:numRef>
          </c:xVal>
          <c:yVal>
            <c:numRef>
              <c:f>Sheet1!$B$2:$B$7</c:f>
              <c:numCache>
                <c:formatCode>General</c:formatCode>
                <c:ptCount val="6"/>
                <c:pt idx="0">
                  <c:v>88856.375634517768</c:v>
                </c:pt>
                <c:pt idx="1">
                  <c:v>34693.635394456287</c:v>
                </c:pt>
                <c:pt idx="2">
                  <c:v>39700.241492864981</c:v>
                </c:pt>
                <c:pt idx="3">
                  <c:v>38983.218623481793</c:v>
                </c:pt>
                <c:pt idx="4">
                  <c:v>37190.417101147032</c:v>
                </c:pt>
                <c:pt idx="5">
                  <c:v>17923.486707566459</c:v>
                </c:pt>
              </c:numCache>
            </c:numRef>
          </c:yVal>
          <c:bubbleSize>
            <c:numRef>
              <c:f>Sheet1!$C$2:$C$7</c:f>
              <c:numCache>
                <c:formatCode>General</c:formatCode>
                <c:ptCount val="6"/>
                <c:pt idx="0">
                  <c:v>4518773.5040000007</c:v>
                </c:pt>
                <c:pt idx="1">
                  <c:v>1798622.3696000001</c:v>
                </c:pt>
                <c:pt idx="2">
                  <c:v>1997336.7135999999</c:v>
                </c:pt>
                <c:pt idx="3">
                  <c:v>2298580.1270000008</c:v>
                </c:pt>
                <c:pt idx="4">
                  <c:v>1614221.3448999999</c:v>
                </c:pt>
                <c:pt idx="5">
                  <c:v>1228819.4014000001</c:v>
                </c:pt>
              </c:numCache>
            </c:numRef>
          </c:bubbleSize>
          <c:bubble3D val="0"/>
          <c:extLst>
            <c:ext xmlns:c15="http://schemas.microsoft.com/office/drawing/2012/chart" uri="{02D57815-91ED-43cb-92C2-25804820EDAC}">
              <c15:datalabelsRange>
                <c15:f>Sheet1!$E$2:$E$21</c15:f>
                <c15:dlblRangeCache>
                  <c:ptCount val="20"/>
                  <c:pt idx="0">
                    <c:v>EQUATE CALIBER 5 5 BLADE DISPOSABLE NORMAL 3CT</c:v>
                  </c:pt>
                  <c:pt idx="1">
                    <c:v>EQUATE CALIBER 3 3 BLADE DISPOSABLE NORMAL 3CT</c:v>
                  </c:pt>
                  <c:pt idx="2">
                    <c:v>EQUATE SPEED 3 SENSITIVE GREEN 3 BLADE DISPOSABLE SENSITIVE 8CT</c:v>
                  </c:pt>
                  <c:pt idx="3">
                    <c:v>EQUATE TB (TWIN BLADE) BLUE 2 BLADE DISPOSABLE NORMAL 12CT</c:v>
                  </c:pt>
                  <c:pt idx="4">
                    <c:v>EQUATE SPEED 3 SENSITIVE GREEN 3 BLADE DISPOSABLE SENSITIVE 4CT</c:v>
                  </c:pt>
                  <c:pt idx="5">
                    <c:v>EQUATE TB (TWIN BLADE) BLUE 2 BLADE DISPOSABLE NORMAL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202D867-9E4C-42C9-AA64-BD589431EF8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5BFF51C-3FE9-47CC-B7D6-D8C9BD75FB6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9EE5A77-8582-4CE9-B622-4E934B9563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FD58732-8D2E-45BC-A11E-DBA63F93B32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DDCBF8-5D63-46AC-A74A-D892837BFEE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40A9C48-7CAE-4CD1-B26E-728C26279A2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DBCD709-E025-4AE8-9769-C9E2F2BB30A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3ADF342-8AED-4A32-897D-975BD072ECF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1FC9BC9-2732-4B51-A195-20E7F3EC0F8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AB4F165-CE73-4E24-91E8-DD8E04BFF3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24</c:v>
                </c:pt>
                <c:pt idx="1">
                  <c:v>0.81</c:v>
                </c:pt>
                <c:pt idx="2">
                  <c:v>0.61</c:v>
                </c:pt>
                <c:pt idx="3">
                  <c:v>0.65</c:v>
                </c:pt>
                <c:pt idx="4">
                  <c:v>0.3</c:v>
                </c:pt>
                <c:pt idx="5">
                  <c:v>0.77</c:v>
                </c:pt>
                <c:pt idx="6">
                  <c:v>0.71</c:v>
                </c:pt>
              </c:numCache>
            </c:numRef>
          </c:xVal>
          <c:yVal>
            <c:numRef>
              <c:f>Sheet1!$B$2:$B$8</c:f>
              <c:numCache>
                <c:formatCode>General</c:formatCode>
                <c:ptCount val="7"/>
                <c:pt idx="0">
                  <c:v>743.54166666666663</c:v>
                </c:pt>
                <c:pt idx="1">
                  <c:v>3557.6049382716051</c:v>
                </c:pt>
                <c:pt idx="2">
                  <c:v>609.59016393442619</c:v>
                </c:pt>
                <c:pt idx="3">
                  <c:v>5031.3076923076924</c:v>
                </c:pt>
                <c:pt idx="4">
                  <c:v>4859.9333333333334</c:v>
                </c:pt>
                <c:pt idx="5">
                  <c:v>4400.727272727273</c:v>
                </c:pt>
                <c:pt idx="6">
                  <c:v>536.43661971830988</c:v>
                </c:pt>
              </c:numCache>
            </c:numRef>
          </c:yVal>
          <c:bubbleSize>
            <c:numRef>
              <c:f>Sheet1!$C$2:$C$8</c:f>
              <c:numCache>
                <c:formatCode>General</c:formatCode>
                <c:ptCount val="7"/>
                <c:pt idx="0">
                  <c:v>11674.0008</c:v>
                </c:pt>
                <c:pt idx="1">
                  <c:v>181395.77009999999</c:v>
                </c:pt>
                <c:pt idx="2">
                  <c:v>25231.624599999999</c:v>
                </c:pt>
                <c:pt idx="3">
                  <c:v>230309.52960000001</c:v>
                </c:pt>
                <c:pt idx="4">
                  <c:v>93532.54770000001</c:v>
                </c:pt>
                <c:pt idx="5">
                  <c:v>219178.04300000001</c:v>
                </c:pt>
                <c:pt idx="6">
                  <c:v>24732.3076</c:v>
                </c:pt>
              </c:numCache>
            </c:numRef>
          </c:bubbleSize>
          <c:bubble3D val="0"/>
          <c:extLst>
            <c:ext xmlns:c15="http://schemas.microsoft.com/office/drawing/2012/chart" uri="{02D57815-91ED-43cb-92C2-25804820EDAC}">
              <c15:datalabelsRange>
                <c15:f>Sheet1!$E$2:$E$21</c15:f>
                <c15:dlblRangeCache>
                  <c:ptCount val="20"/>
                  <c:pt idx="0">
                    <c:v>SCHICK XTREME 3 SENSITIVE GREEN BLACK 3 BLADE DISPOSABLE SENSITIVE 12CT</c:v>
                  </c:pt>
                  <c:pt idx="1">
                    <c:v>SCHICK XTREME 3 SENSITIVE BLACK 3 BLADE DISPOSABLE SENSITIVE 4CT</c:v>
                  </c:pt>
                  <c:pt idx="2">
                    <c:v>SCHICK XTREME 3 SENSITIVE GREEN BLACK 3 BLADE DISPOSABLE SENSITIVE 8CT</c:v>
                  </c:pt>
                  <c:pt idx="3">
                    <c:v>SCHICK XTREME 3 SENSITIVE GREEN 3 BLADE DISPOSABLE SENSITIVE 8CT</c:v>
                  </c:pt>
                  <c:pt idx="4">
                    <c:v>SCHICK XTREME 3 SENSITIVE BLACK GREEN 3 BLADE DISPOSABLE SENSITIVE 12CT</c:v>
                  </c:pt>
                  <c:pt idx="5">
                    <c:v>SCHICK XTREME 2 SENSITIVE 2 BLADE DISPOSABLE NORMAL 12CT</c:v>
                  </c:pt>
                  <c:pt idx="6">
                    <c:v>SCHICK XTREME 3 SENSITIVE GREEN BLACK 3 BLADE DISPOSABLE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B$2:$B$11</c:f>
              <c:numCache>
                <c:formatCode>General</c:formatCode>
                <c:ptCount val="10"/>
                <c:pt idx="0">
                  <c:v>0.57279520332439515</c:v>
                </c:pt>
                <c:pt idx="1">
                  <c:v>0.21145741906350762</c:v>
                </c:pt>
                <c:pt idx="2">
                  <c:v>6.7557284837587397E-2</c:v>
                </c:pt>
                <c:pt idx="3">
                  <c:v>4.4717781070534597E-2</c:v>
                </c:pt>
                <c:pt idx="4">
                  <c:v>3.8719220420717626E-2</c:v>
                </c:pt>
                <c:pt idx="5">
                  <c:v>2.9552303786982627E-2</c:v>
                </c:pt>
                <c:pt idx="6">
                  <c:v>1.8920839671646029E-2</c:v>
                </c:pt>
                <c:pt idx="7">
                  <c:v>1.5826887485151132E-2</c:v>
                </c:pt>
                <c:pt idx="8">
                  <c:v>4.4367573645225848E-4</c:v>
                </c:pt>
                <c:pt idx="9">
                  <c:v>9.3846030255403877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C$2:$C$11</c:f>
              <c:numCache>
                <c:formatCode>General</c:formatCode>
                <c:ptCount val="10"/>
                <c:pt idx="0">
                  <c:v>0.47827788649706593</c:v>
                </c:pt>
                <c:pt idx="1">
                  <c:v>0.1383561643835618</c:v>
                </c:pt>
                <c:pt idx="2">
                  <c:v>0.12465753424657547</c:v>
                </c:pt>
                <c:pt idx="3">
                  <c:v>6.8688845401174259E-2</c:v>
                </c:pt>
                <c:pt idx="4">
                  <c:v>6.1252446183953098E-2</c:v>
                </c:pt>
                <c:pt idx="5">
                  <c:v>5.9491193737769142E-2</c:v>
                </c:pt>
                <c:pt idx="6">
                  <c:v>3.150684931506853E-2</c:v>
                </c:pt>
                <c:pt idx="7">
                  <c:v>3.0919765166340547E-2</c:v>
                </c:pt>
                <c:pt idx="8">
                  <c:v>4.3052837573385573E-3</c:v>
                </c:pt>
                <c:pt idx="9">
                  <c:v>2.544031311154602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D$2:$D$11</c:f>
              <c:numCache>
                <c:formatCode>General</c:formatCode>
                <c:ptCount val="10"/>
                <c:pt idx="0">
                  <c:v>83.498933601613885</c:v>
                </c:pt>
                <c:pt idx="1">
                  <c:v>65.429799056617114</c:v>
                </c:pt>
                <c:pt idx="2">
                  <c:v>184.52123193858546</c:v>
                </c:pt>
                <c:pt idx="3">
                  <c:v>153.60521867762051</c:v>
                </c:pt>
                <c:pt idx="4">
                  <c:v>158.19648618539475</c:v>
                </c:pt>
                <c:pt idx="5">
                  <c:v>201.3081422233287</c:v>
                </c:pt>
                <c:pt idx="6">
                  <c:v>166.51929756734509</c:v>
                </c:pt>
                <c:pt idx="7">
                  <c:v>195.36226055407059</c:v>
                </c:pt>
                <c:pt idx="8">
                  <c:v>970.36718567588946</c:v>
                </c:pt>
                <c:pt idx="9">
                  <c:v>27108.56606540488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66DA9B4-03C0-46F7-9A76-E3E04630BF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F2BABB2-581E-490F-B2EE-D1145B73D30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996E31A-C78E-40A7-91C7-C887A669E68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76456B0-D543-4D64-973D-10CF8FD2476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720029C-D746-4149-B91C-F068828C40C7}"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1F47FE7-C7B5-4C65-848C-FDC36BEF8B6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BBFA11A-14F4-49B3-B94D-FA710721C0B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45A1781-7841-40EF-BFF3-198E980779E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24DC3CA-7CEF-49B6-BFD2-10F6F054EF6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5464368-DB3B-46A0-B503-750D3161DEC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1</c:v>
                </c:pt>
                <c:pt idx="1">
                  <c:v>0.74</c:v>
                </c:pt>
                <c:pt idx="2">
                  <c:v>0.65</c:v>
                </c:pt>
                <c:pt idx="3">
                  <c:v>0.95</c:v>
                </c:pt>
                <c:pt idx="4">
                  <c:v>0.82</c:v>
                </c:pt>
                <c:pt idx="5">
                  <c:v>0.95</c:v>
                </c:pt>
              </c:numCache>
            </c:numRef>
          </c:xVal>
          <c:yVal>
            <c:numRef>
              <c:f>Sheet1!$B$2:$B$7</c:f>
              <c:numCache>
                <c:formatCode>General</c:formatCode>
                <c:ptCount val="6"/>
                <c:pt idx="0">
                  <c:v>5807.0109890109889</c:v>
                </c:pt>
                <c:pt idx="1">
                  <c:v>2923.9189189189192</c:v>
                </c:pt>
                <c:pt idx="2">
                  <c:v>3479.353846153846</c:v>
                </c:pt>
                <c:pt idx="3">
                  <c:v>3081.3052631578948</c:v>
                </c:pt>
                <c:pt idx="4">
                  <c:v>2862.6341463414628</c:v>
                </c:pt>
                <c:pt idx="5">
                  <c:v>1727.1789473684209</c:v>
                </c:pt>
              </c:numCache>
            </c:numRef>
          </c:yVal>
          <c:bubbleSize>
            <c:numRef>
              <c:f>Sheet1!$C$2:$C$7</c:f>
              <c:numCache>
                <c:formatCode>General</c:formatCode>
                <c:ptCount val="6"/>
                <c:pt idx="0">
                  <c:v>272475.62770000001</c:v>
                </c:pt>
                <c:pt idx="1">
                  <c:v>119428.2879</c:v>
                </c:pt>
                <c:pt idx="2">
                  <c:v>125001.96189999999</c:v>
                </c:pt>
                <c:pt idx="3">
                  <c:v>174687.43780000001</c:v>
                </c:pt>
                <c:pt idx="4">
                  <c:v>106130.8149</c:v>
                </c:pt>
                <c:pt idx="5">
                  <c:v>114348.9244</c:v>
                </c:pt>
              </c:numCache>
            </c:numRef>
          </c:bubbleSize>
          <c:bubble3D val="0"/>
          <c:extLst>
            <c:ext xmlns:c15="http://schemas.microsoft.com/office/drawing/2012/chart" uri="{02D57815-91ED-43cb-92C2-25804820EDAC}">
              <c15:datalabelsRange>
                <c15:f>Sheet1!$E$2:$E$21</c15:f>
                <c15:dlblRangeCache>
                  <c:ptCount val="20"/>
                  <c:pt idx="0">
                    <c:v>EQUATE CALIBER 5 5 BLADE DISPOSABLE NORMAL 3CT</c:v>
                  </c:pt>
                  <c:pt idx="1">
                    <c:v>EQUATE CALIBER 3 3 BLADE DISPOSABLE NORMAL 3CT</c:v>
                  </c:pt>
                  <c:pt idx="2">
                    <c:v>EQUATE SPEED 3 SENSITIVE GREEN 3 BLADE DISPOSABLE SENSITIVE 8CT</c:v>
                  </c:pt>
                  <c:pt idx="3">
                    <c:v>EQUATE TB (TWIN BLADE) BLUE 2 BLADE DISPOSABLE NORMAL 12CT</c:v>
                  </c:pt>
                  <c:pt idx="4">
                    <c:v>EQUATE SPEED 3 SENSITIVE GREEN 3 BLADE DISPOSABLE SENSITIVE 4CT</c:v>
                  </c:pt>
                  <c:pt idx="5">
                    <c:v>EQUATE TB (TWIN BLADE) BLUE 2 BLADE DISPOSABLE NORMAL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040D954-D636-463D-B5E8-FE4EA640082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76BA8E4-1D1A-45B2-8C36-D7894372D6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03AC50E-A6EA-4F2B-8E7D-3A89D24D33C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1B4614D-893D-4B8E-8221-9BCFCCC1D96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73F70FC-9BD8-47EA-8502-772232C1798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6D8A56D-C783-4DFD-BBDA-74B51188F5C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FF7E047-572E-42FB-AC7A-0DAEF193F6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9F9AA82-2E25-46DB-AE53-A182696238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70CA072-127A-417A-9196-B38AF8C23DF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D2A0804-7B09-4862-B25A-46441350E15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04</c:v>
                </c:pt>
                <c:pt idx="1">
                  <c:v>0.64</c:v>
                </c:pt>
                <c:pt idx="2">
                  <c:v>0.95</c:v>
                </c:pt>
                <c:pt idx="3">
                  <c:v>0.84</c:v>
                </c:pt>
                <c:pt idx="4">
                  <c:v>0.87</c:v>
                </c:pt>
                <c:pt idx="5">
                  <c:v>0.68</c:v>
                </c:pt>
                <c:pt idx="6">
                  <c:v>0.94</c:v>
                </c:pt>
                <c:pt idx="7">
                  <c:v>0.88</c:v>
                </c:pt>
              </c:numCache>
            </c:numRef>
          </c:xVal>
          <c:yVal>
            <c:numRef>
              <c:f>Sheet1!$B$2:$B$9</c:f>
              <c:numCache>
                <c:formatCode>General</c:formatCode>
                <c:ptCount val="8"/>
                <c:pt idx="0">
                  <c:v>874</c:v>
                </c:pt>
                <c:pt idx="1">
                  <c:v>574.65625</c:v>
                </c:pt>
                <c:pt idx="2">
                  <c:v>3032.8736842105259</c:v>
                </c:pt>
                <c:pt idx="3">
                  <c:v>506.07142857142861</c:v>
                </c:pt>
                <c:pt idx="4">
                  <c:v>3945.977011494253</c:v>
                </c:pt>
                <c:pt idx="5">
                  <c:v>3373.205882352941</c:v>
                </c:pt>
                <c:pt idx="6">
                  <c:v>4372</c:v>
                </c:pt>
                <c:pt idx="7">
                  <c:v>413.27272727272731</c:v>
                </c:pt>
              </c:numCache>
            </c:numRef>
          </c:yVal>
          <c:bubbleSize>
            <c:numRef>
              <c:f>Sheet1!$C$2:$C$9</c:f>
              <c:numCache>
                <c:formatCode>General</c:formatCode>
                <c:ptCount val="8"/>
                <c:pt idx="0">
                  <c:v>2412.9196000000002</c:v>
                </c:pt>
                <c:pt idx="1">
                  <c:v>23760.718799999999</c:v>
                </c:pt>
                <c:pt idx="2">
                  <c:v>180016.2997</c:v>
                </c:pt>
                <c:pt idx="3">
                  <c:v>28611.328399999999</c:v>
                </c:pt>
                <c:pt idx="4">
                  <c:v>239980.5024</c:v>
                </c:pt>
                <c:pt idx="5">
                  <c:v>144963.85519999999</c:v>
                </c:pt>
                <c:pt idx="6">
                  <c:v>263862.60160000011</c:v>
                </c:pt>
                <c:pt idx="7">
                  <c:v>23392.570500000002</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SCHICK XTREME 3 SENSITIVE GREEN BLACK 3 BLADE DISPOSABLE SENSITIVE 12CT</c:v>
                  </c:pt>
                  <c:pt idx="2">
                    <c:v>SCHICK XTREME 3 SENSITIVE BLACK 3 BLADE DISPOSABLE SENSITIVE 4CT</c:v>
                  </c:pt>
                  <c:pt idx="3">
                    <c:v>SCHICK XTREME 3 SENSITIVE GREEN BLACK 3 BLADE DISPOSABLE SENSITIVE 8CT</c:v>
                  </c:pt>
                  <c:pt idx="4">
                    <c:v>SCHICK XTREME 3 SENSITIVE GREEN 3 BLADE DISPOSABLE SENSITIVE 8CT</c:v>
                  </c:pt>
                  <c:pt idx="5">
                    <c:v>SCHICK XTREME 3 SENSITIVE BLACK GREEN 3 BLADE DISPOSABLE SENSITIVE 12CT</c:v>
                  </c:pt>
                  <c:pt idx="6">
                    <c:v>SCHICK XTREME 2 SENSITIVE 2 BLADE DISPOSABLE NORMAL 12CT</c:v>
                  </c:pt>
                  <c:pt idx="7">
                    <c:v>SCHICK XTREME 3 SENSITIVE GREEN BLACK 3 BLADE DISPOSABLE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6A3B653-89D3-40C2-9842-9E7EF328DCD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E209133-4DA2-4285-98D4-2C1B2259A6B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2FD2606-8655-4A4B-A87B-6676426A695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66CF269-4D31-4331-8142-5E883633E6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E10CC45-F04E-4BA0-8197-0CB39B8AA11C}"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52655AB-C010-46B5-8CD0-34BC168BD66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72CF852-C19E-4626-9BA1-7D06EAF3A69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31A4A51-2496-4945-996E-63F493F7BF6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20849F6-B14F-456F-BB1A-0CCEF63D19C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A235166-BCAA-40ED-AF7F-469A5C68309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8</c:v>
                </c:pt>
                <c:pt idx="1">
                  <c:v>0.95</c:v>
                </c:pt>
                <c:pt idx="2">
                  <c:v>0.9</c:v>
                </c:pt>
                <c:pt idx="3">
                  <c:v>0.99</c:v>
                </c:pt>
                <c:pt idx="4">
                  <c:v>0.94</c:v>
                </c:pt>
                <c:pt idx="5">
                  <c:v>0.97</c:v>
                </c:pt>
              </c:numCache>
            </c:numRef>
          </c:xVal>
          <c:yVal>
            <c:numRef>
              <c:f>Sheet1!$B$2:$B$7</c:f>
              <c:numCache>
                <c:formatCode>General</c:formatCode>
                <c:ptCount val="6"/>
                <c:pt idx="0">
                  <c:v>6191.2653061224491</c:v>
                </c:pt>
                <c:pt idx="1">
                  <c:v>2490.9578947368418</c:v>
                </c:pt>
                <c:pt idx="2">
                  <c:v>2854.1777777777779</c:v>
                </c:pt>
                <c:pt idx="3">
                  <c:v>3147.9191919191921</c:v>
                </c:pt>
                <c:pt idx="4">
                  <c:v>2380.0744680851062</c:v>
                </c:pt>
                <c:pt idx="5">
                  <c:v>1268.855670103093</c:v>
                </c:pt>
              </c:numCache>
            </c:numRef>
          </c:yVal>
          <c:bubbleSize>
            <c:numRef>
              <c:f>Sheet1!$C$2:$C$7</c:f>
              <c:numCache>
                <c:formatCode>General</c:formatCode>
                <c:ptCount val="6"/>
                <c:pt idx="0">
                  <c:v>310226.51689999999</c:v>
                </c:pt>
                <c:pt idx="1">
                  <c:v>129385.6139</c:v>
                </c:pt>
                <c:pt idx="2">
                  <c:v>141820.57579999999</c:v>
                </c:pt>
                <c:pt idx="3">
                  <c:v>185958.4334000001</c:v>
                </c:pt>
                <c:pt idx="4">
                  <c:v>100468.05989999999</c:v>
                </c:pt>
                <c:pt idx="5">
                  <c:v>85078.340200000006</c:v>
                </c:pt>
              </c:numCache>
            </c:numRef>
          </c:bubbleSize>
          <c:bubble3D val="0"/>
          <c:extLst>
            <c:ext xmlns:c15="http://schemas.microsoft.com/office/drawing/2012/chart" uri="{02D57815-91ED-43cb-92C2-25804820EDAC}">
              <c15:datalabelsRange>
                <c15:f>Sheet1!$E$2:$E$21</c15:f>
                <c15:dlblRangeCache>
                  <c:ptCount val="20"/>
                  <c:pt idx="0">
                    <c:v>EQUATE CALIBER 5 5 BLADE DISPOSABLE NORMAL 3CT</c:v>
                  </c:pt>
                  <c:pt idx="1">
                    <c:v>EQUATE CALIBER 3 3 BLADE DISPOSABLE NORMAL 3CT</c:v>
                  </c:pt>
                  <c:pt idx="2">
                    <c:v>EQUATE SPEED 3 SENSITIVE GREEN 3 BLADE DISPOSABLE SENSITIVE 8CT</c:v>
                  </c:pt>
                  <c:pt idx="3">
                    <c:v>EQUATE TB (TWIN BLADE) BLUE 2 BLADE DISPOSABLE NORMAL 12CT</c:v>
                  </c:pt>
                  <c:pt idx="4">
                    <c:v>EQUATE SPEED 3 SENSITIVE GREEN 3 BLADE DISPOSABLE SENSITIVE 4CT</c:v>
                  </c:pt>
                  <c:pt idx="5">
                    <c:v>EQUATE TB (TWIN BLADE) BLUE 2 BLADE DISPOSABLE NORMAL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C77313B-26D1-4647-A2D5-6546ED8A87C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8B46E63-39C7-4A31-9779-96A378517D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6E80FE-54DD-4938-BD65-6A0D9066BBF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3C5F45B-441D-49BB-9CCF-49B4682D723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92DDAB3-96A0-4604-B77B-173BFCFF7FD7}"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B79EC6F-515F-4EB8-B606-EB8129F944A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580DFB2-8BFA-4B1A-8781-6F4792335B0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311C0D2-7501-4A5F-9E2F-3AA1B407D77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4935536-AA9D-4893-B62B-5C50A2E522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DC05241-ABB1-4171-B99A-1601E1E216A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87</c:v>
                </c:pt>
                <c:pt idx="1">
                  <c:v>0.66</c:v>
                </c:pt>
                <c:pt idx="2">
                  <c:v>0.96</c:v>
                </c:pt>
                <c:pt idx="3">
                  <c:v>0.86</c:v>
                </c:pt>
                <c:pt idx="4">
                  <c:v>0.87</c:v>
                </c:pt>
                <c:pt idx="5">
                  <c:v>0.73</c:v>
                </c:pt>
                <c:pt idx="6">
                  <c:v>0.95</c:v>
                </c:pt>
                <c:pt idx="7">
                  <c:v>0.91</c:v>
                </c:pt>
              </c:numCache>
            </c:numRef>
          </c:xVal>
          <c:yVal>
            <c:numRef>
              <c:f>Sheet1!$B$2:$B$9</c:f>
              <c:numCache>
                <c:formatCode>General</c:formatCode>
                <c:ptCount val="8"/>
                <c:pt idx="0">
                  <c:v>12997.022988505751</c:v>
                </c:pt>
                <c:pt idx="1">
                  <c:v>6147.757575757576</c:v>
                </c:pt>
                <c:pt idx="2">
                  <c:v>36195.333333333343</c:v>
                </c:pt>
                <c:pt idx="3">
                  <c:v>5750.2906976744189</c:v>
                </c:pt>
                <c:pt idx="4">
                  <c:v>42870.586206896551</c:v>
                </c:pt>
                <c:pt idx="5">
                  <c:v>36036.28767123288</c:v>
                </c:pt>
                <c:pt idx="6">
                  <c:v>44077.368421052633</c:v>
                </c:pt>
                <c:pt idx="7">
                  <c:v>5099.131868131868</c:v>
                </c:pt>
              </c:numCache>
            </c:numRef>
          </c:yVal>
          <c:bubbleSize>
            <c:numRef>
              <c:f>Sheet1!$C$2:$C$9</c:f>
              <c:numCache>
                <c:formatCode>General</c:formatCode>
                <c:ptCount val="8"/>
                <c:pt idx="0">
                  <c:v>836275.50839999993</c:v>
                </c:pt>
                <c:pt idx="1">
                  <c:v>265583.51819999999</c:v>
                </c:pt>
                <c:pt idx="2">
                  <c:v>2189858.2104000002</c:v>
                </c:pt>
                <c:pt idx="3">
                  <c:v>336996.18599999999</c:v>
                </c:pt>
                <c:pt idx="4">
                  <c:v>2631441.1776000001</c:v>
                </c:pt>
                <c:pt idx="5">
                  <c:v>1682330.8056999999</c:v>
                </c:pt>
                <c:pt idx="6">
                  <c:v>2717686.2453999999</c:v>
                </c:pt>
                <c:pt idx="7">
                  <c:v>302112.82919999998</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SCHICK XTREME 3 SENSITIVE GREEN BLACK 3 BLADE DISPOSABLE SENSITIVE 12CT</c:v>
                  </c:pt>
                  <c:pt idx="2">
                    <c:v>SCHICK XTREME 3 SENSITIVE BLACK 3 BLADE DISPOSABLE SENSITIVE 4CT</c:v>
                  </c:pt>
                  <c:pt idx="3">
                    <c:v>SCHICK XTREME 3 SENSITIVE GREEN BLACK 3 BLADE DISPOSABLE SENSITIVE 8CT</c:v>
                  </c:pt>
                  <c:pt idx="4">
                    <c:v>SCHICK XTREME 3 SENSITIVE GREEN 3 BLADE DISPOSABLE SENSITIVE 8CT</c:v>
                  </c:pt>
                  <c:pt idx="5">
                    <c:v>SCHICK XTREME 3 SENSITIVE BLACK GREEN 3 BLADE DISPOSABLE SENSITIVE 12CT</c:v>
                  </c:pt>
                  <c:pt idx="6">
                    <c:v>SCHICK XTREME 2 SENSITIVE 2 BLADE DISPOSABLE NORMAL 12CT</c:v>
                  </c:pt>
                  <c:pt idx="7">
                    <c:v>SCHICK XTREME 3 SENSITIVE GREEN BLACK 3 BLADE DISPOSABLE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C46711-58A9-48AF-ABDB-21B236C389A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17B14F1-14AF-4D54-8DBE-7F72D07046C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5FE85FB-4E75-493F-902E-F11D3034F0D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701834E-F84A-4FF4-A863-B945E8CBDA9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7308A31-D86B-42B9-B463-8EABA288733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B13EBFD-5A6A-4E46-B3FD-E68041488B7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EE94905-B29B-438E-97B9-70EA75C3A99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E95709D-D5B9-4329-80EB-D5F4955E6B1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FB6CDCC-5736-472A-B56A-88F9CDB3BCD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74917C5-FD53-4A52-B57A-B4B5A3E00B9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9</c:v>
                </c:pt>
                <c:pt idx="1">
                  <c:v>0.95</c:v>
                </c:pt>
                <c:pt idx="2">
                  <c:v>0.93</c:v>
                </c:pt>
                <c:pt idx="3">
                  <c:v>0.99</c:v>
                </c:pt>
                <c:pt idx="4">
                  <c:v>0.97</c:v>
                </c:pt>
                <c:pt idx="5">
                  <c:v>0.98</c:v>
                </c:pt>
              </c:numCache>
            </c:numRef>
          </c:xVal>
          <c:yVal>
            <c:numRef>
              <c:f>Sheet1!$B$2:$B$7</c:f>
              <c:numCache>
                <c:formatCode>General</c:formatCode>
                <c:ptCount val="6"/>
                <c:pt idx="0">
                  <c:v>76941.121212121216</c:v>
                </c:pt>
                <c:pt idx="1">
                  <c:v>29486.863157894739</c:v>
                </c:pt>
                <c:pt idx="2">
                  <c:v>33695.247311827959</c:v>
                </c:pt>
                <c:pt idx="3">
                  <c:v>32799.737373737371</c:v>
                </c:pt>
                <c:pt idx="4">
                  <c:v>32042.247422680412</c:v>
                </c:pt>
                <c:pt idx="5">
                  <c:v>14956.693877551021</c:v>
                </c:pt>
              </c:numCache>
            </c:numRef>
          </c:yVal>
          <c:bubbleSize>
            <c:numRef>
              <c:f>Sheet1!$C$2:$C$7</c:f>
              <c:numCache>
                <c:formatCode>General</c:formatCode>
                <c:ptCount val="6"/>
                <c:pt idx="0">
                  <c:v>3936071.3594</c:v>
                </c:pt>
                <c:pt idx="1">
                  <c:v>1549808.4678</c:v>
                </c:pt>
                <c:pt idx="2">
                  <c:v>1730514.1758999999</c:v>
                </c:pt>
                <c:pt idx="3">
                  <c:v>1937934.2557999999</c:v>
                </c:pt>
                <c:pt idx="4">
                  <c:v>1407622.4701</c:v>
                </c:pt>
                <c:pt idx="5">
                  <c:v>1029392.1368</c:v>
                </c:pt>
              </c:numCache>
            </c:numRef>
          </c:bubbleSize>
          <c:bubble3D val="0"/>
          <c:extLst>
            <c:ext xmlns:c15="http://schemas.microsoft.com/office/drawing/2012/chart" uri="{02D57815-91ED-43cb-92C2-25804820EDAC}">
              <c15:datalabelsRange>
                <c15:f>Sheet1!$E$2:$E$21</c15:f>
                <c15:dlblRangeCache>
                  <c:ptCount val="20"/>
                  <c:pt idx="0">
                    <c:v>EQUATE CALIBER 5 5 BLADE DISPOSABLE NORMAL 3CT</c:v>
                  </c:pt>
                  <c:pt idx="1">
                    <c:v>EQUATE CALIBER 3 3 BLADE DISPOSABLE NORMAL 3CT</c:v>
                  </c:pt>
                  <c:pt idx="2">
                    <c:v>EQUATE SPEED 3 SENSITIVE GREEN 3 BLADE DISPOSABLE SENSITIVE 8CT</c:v>
                  </c:pt>
                  <c:pt idx="3">
                    <c:v>EQUATE TB (TWIN BLADE) BLUE 2 BLADE DISPOSABLE NORMAL 12CT</c:v>
                  </c:pt>
                  <c:pt idx="4">
                    <c:v>EQUATE SPEED 3 SENSITIVE GREEN 3 BLADE DISPOSABLE SENSITIVE 4CT</c:v>
                  </c:pt>
                  <c:pt idx="5">
                    <c:v>EQUATE TB (TWIN BLADE) BLUE 2 BLADE DISPOSABLE NORMAL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89E87EA-A614-4726-841C-47F4497DEC6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5CA956C-F7B8-4798-ADF6-AE57BEB326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8BBBF2B-9D14-4601-8254-E92C2E7637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E5475E4-26F4-4980-8E04-FE7B7000865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876FCDB-6E9B-44FB-BC43-3487284F9978}"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87AF59A-01E4-424F-9892-5CA710F42BB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60C0C44-4097-47D6-B9B8-27CFB789C7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27461BB-705F-4330-8966-1795487A010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9FDE0F6-7253-4E51-9005-F562EC4541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CDE8C6D-0F9F-419B-88F9-B4EF831D648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01</c:v>
                </c:pt>
                <c:pt idx="1">
                  <c:v>0.79400000000000004</c:v>
                </c:pt>
                <c:pt idx="2">
                  <c:v>0.44900000000000001</c:v>
                </c:pt>
                <c:pt idx="3">
                  <c:v>5.6000000000000001E-2</c:v>
                </c:pt>
                <c:pt idx="4">
                  <c:v>4.7E-2</c:v>
                </c:pt>
                <c:pt idx="5">
                  <c:v>8.9999999999999993E-3</c:v>
                </c:pt>
                <c:pt idx="6">
                  <c:v>0.01</c:v>
                </c:pt>
                <c:pt idx="7">
                  <c:v>0.78500000000000003</c:v>
                </c:pt>
                <c:pt idx="8">
                  <c:v>0.85199999999999998</c:v>
                </c:pt>
              </c:numCache>
            </c:numRef>
          </c:xVal>
          <c:yVal>
            <c:numRef>
              <c:f>Sheet1!$B$2:$B$10</c:f>
              <c:numCache>
                <c:formatCode>General</c:formatCode>
                <c:ptCount val="9"/>
                <c:pt idx="0">
                  <c:v>1754</c:v>
                </c:pt>
                <c:pt idx="1">
                  <c:v>17159.559193954661</c:v>
                </c:pt>
                <c:pt idx="2">
                  <c:v>75823.496659242766</c:v>
                </c:pt>
                <c:pt idx="3">
                  <c:v>21416.964285714279</c:v>
                </c:pt>
                <c:pt idx="4">
                  <c:v>21518.936170212761</c:v>
                </c:pt>
                <c:pt idx="5">
                  <c:v>897.77777777777783</c:v>
                </c:pt>
                <c:pt idx="6">
                  <c:v>5644</c:v>
                </c:pt>
                <c:pt idx="7">
                  <c:v>68443.006369426745</c:v>
                </c:pt>
                <c:pt idx="8">
                  <c:v>48994.894366197179</c:v>
                </c:pt>
              </c:numCache>
            </c:numRef>
          </c:yVal>
          <c:bubbleSize>
            <c:numRef>
              <c:f>Sheet1!$C$2:$C$10</c:f>
              <c:numCache>
                <c:formatCode>General</c:formatCode>
                <c:ptCount val="9"/>
                <c:pt idx="0">
                  <c:v>2502.7807999999991</c:v>
                </c:pt>
                <c:pt idx="1">
                  <c:v>1058631.9765999999</c:v>
                </c:pt>
                <c:pt idx="2">
                  <c:v>2654418.0469</c:v>
                </c:pt>
                <c:pt idx="3">
                  <c:v>75862.375199999995</c:v>
                </c:pt>
                <c:pt idx="4">
                  <c:v>72733.447800000009</c:v>
                </c:pt>
                <c:pt idx="5">
                  <c:v>1764.1728000000001</c:v>
                </c:pt>
                <c:pt idx="6">
                  <c:v>8139.9551999999994</c:v>
                </c:pt>
                <c:pt idx="7">
                  <c:v>3648181.7445999999</c:v>
                </c:pt>
                <c:pt idx="8">
                  <c:v>2538781.9904</c:v>
                </c:pt>
              </c:numCache>
            </c:numRef>
          </c:bubbleSize>
          <c:bubble3D val="0"/>
          <c:extLst>
            <c:ext xmlns:c15="http://schemas.microsoft.com/office/drawing/2012/chart" uri="{02D57815-91ED-43cb-92C2-25804820EDAC}">
              <c15:datalabelsRange>
                <c15:f>Sheet1!$E$2:$E$21</c15:f>
                <c15:dlblRangeCache>
                  <c:ptCount val="20"/>
                  <c:pt idx="0">
                    <c:v>HYDRO 5 SENSITIVE 5 BLADE RAZOR SENSITIVE 2CT</c:v>
                  </c:pt>
                  <c:pt idx="1">
                    <c:v>HYDRO 5 SENSITIVE GRAY HOLIDAY GIFT PACK 5 BLADE RAZOR SENSITIVE 3CT</c:v>
                  </c:pt>
                  <c:pt idx="2">
                    <c:v>HYDRO 5 SENSITIVE 5 BLADE REFILL SENSITIVE 12CT</c:v>
                  </c:pt>
                  <c:pt idx="3">
                    <c:v>SCHICK HYDRO 3 SENSITIVE 3 BLADE RAZOR SENSITIVE 4CT</c:v>
                  </c:pt>
                  <c:pt idx="4">
                    <c:v>SCHICK HYDRO 3 SENSITIVE 3 BLADE REFILL SENSITIVE 5CT</c:v>
                  </c:pt>
                  <c:pt idx="5">
                    <c:v>HYDRO 5 DRY SKIN 5 BLADE REFILL NORMAL 4CT</c:v>
                  </c:pt>
                  <c:pt idx="6">
                    <c:v>HYDRO 5 SENSITIVE 5 BLADE REFILL SENSITIVE 4CT</c:v>
                  </c:pt>
                  <c:pt idx="7">
                    <c:v>HYDRO 5 SENSITIVE 5 BLADE REFILL SENSITIVE 6CT</c:v>
                  </c:pt>
                  <c:pt idx="8">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812217C-AD0D-4DD6-BDC3-82D2F649F6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73D6CC0-BD32-4131-976B-153FA5C5736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5CEEABF-9E1A-4603-8DC6-270F6D65854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FDCF1E8-8CCB-4D64-AB7A-D1FE2AE5F0A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548FF81-9A2C-4CF4-B04B-27B06842BD2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F4C6DF7-DE01-465F-8F37-F657DA02E3B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011204E-1B72-4694-BF00-D16B2CBE50A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296E057-884C-45A6-8648-B9AFB72C234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5713968-D13E-4165-9DDE-2AF6ED9EEA7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12D8488-3579-4F0C-8082-45FFF85C28B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6.4000000000000001E-2</c:v>
                </c:pt>
                <c:pt idx="1">
                  <c:v>0.11700000000000001</c:v>
                </c:pt>
              </c:numCache>
            </c:numRef>
          </c:xVal>
          <c:yVal>
            <c:numRef>
              <c:f>Sheet1!$B$2:$B$3</c:f>
              <c:numCache>
                <c:formatCode>General</c:formatCode>
                <c:ptCount val="2"/>
                <c:pt idx="0">
                  <c:v>6750.3125</c:v>
                </c:pt>
                <c:pt idx="1">
                  <c:v>7625.1282051282042</c:v>
                </c:pt>
              </c:numCache>
            </c:numRef>
          </c:yVal>
          <c:bubbleSize>
            <c:numRef>
              <c:f>Sheet1!$C$2:$C$3</c:f>
              <c:numCache>
                <c:formatCode>General</c:formatCode>
                <c:ptCount val="2"/>
                <c:pt idx="0">
                  <c:v>28272.369699999999</c:v>
                </c:pt>
                <c:pt idx="1">
                  <c:v>56493.237800000003</c:v>
                </c:pt>
              </c:numCache>
            </c:numRef>
          </c:bubbleSize>
          <c:bubble3D val="0"/>
          <c:extLst>
            <c:ext xmlns:c15="http://schemas.microsoft.com/office/drawing/2012/chart" uri="{02D57815-91ED-43cb-92C2-25804820EDAC}">
              <c15:datalabelsRange>
                <c15:f>Sheet1!$E$2:$E$21</c15:f>
                <c15:dlblRangeCache>
                  <c:ptCount val="20"/>
                  <c:pt idx="0">
                    <c:v>CREMO 5 BLADE REFILL NORMAL 4CT</c:v>
                  </c:pt>
                  <c:pt idx="1">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86E3D47-8821-40DC-AABB-48CD2DCAD96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F27ECD2-62AB-4A05-BE2A-DEDF47140D9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876E1AD-C1AF-43A1-B4AC-E435A778E05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95EDA39-F2CC-4A4C-80A1-AA2080FBDBD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62A4D5C-37D5-49CB-B00E-FE100204BF92}"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095D998-C549-4050-ADEF-B1D8710FE4E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91BA93C-9259-4AA4-AB1E-F05E98C361C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FF2093-0FE4-4B5A-AC24-E56B46AC21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35E9BAC-A68C-415E-9442-CF515E70419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BCEEC71-B5F9-49A4-81DB-1D76D3FAF08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751</c:v>
                </c:pt>
                <c:pt idx="1">
                  <c:v>0.01</c:v>
                </c:pt>
                <c:pt idx="2">
                  <c:v>0.68899999999999995</c:v>
                </c:pt>
                <c:pt idx="3">
                  <c:v>0.58399999999999996</c:v>
                </c:pt>
                <c:pt idx="4">
                  <c:v>0.84499999999999997</c:v>
                </c:pt>
              </c:numCache>
            </c:numRef>
          </c:xVal>
          <c:yVal>
            <c:numRef>
              <c:f>Sheet1!$B$2:$B$6</c:f>
              <c:numCache>
                <c:formatCode>General</c:formatCode>
                <c:ptCount val="5"/>
                <c:pt idx="0">
                  <c:v>31615.11318242344</c:v>
                </c:pt>
                <c:pt idx="1">
                  <c:v>779</c:v>
                </c:pt>
                <c:pt idx="2">
                  <c:v>10233.43976777939</c:v>
                </c:pt>
                <c:pt idx="3">
                  <c:v>38536.181506849323</c:v>
                </c:pt>
                <c:pt idx="4">
                  <c:v>54222.520710059172</c:v>
                </c:pt>
              </c:numCache>
            </c:numRef>
          </c:yVal>
          <c:bubbleSize>
            <c:numRef>
              <c:f>Sheet1!$C$2:$C$6</c:f>
              <c:numCache>
                <c:formatCode>General</c:formatCode>
                <c:ptCount val="5"/>
                <c:pt idx="0">
                  <c:v>1214691.3791</c:v>
                </c:pt>
                <c:pt idx="1">
                  <c:v>1094.5673999999999</c:v>
                </c:pt>
                <c:pt idx="2">
                  <c:v>423999.08850000001</c:v>
                </c:pt>
                <c:pt idx="3">
                  <c:v>1343734.6551000001</c:v>
                </c:pt>
                <c:pt idx="4">
                  <c:v>2611438.9335999992</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pt idx="1">
                    <c:v>EQUATE CALIBER 5 5 BLADE REFILL NORMAL 4CT</c:v>
                  </c:pt>
                  <c:pt idx="2">
                    <c:v>EQUATE EASY FIT 5 5 BLADE REFILL NORMAL 12CT</c:v>
                  </c:pt>
                  <c:pt idx="3">
                    <c:v>EQUATE EASY FIT 5 5 BLADE REFILL NORMAL 8CT</c:v>
                  </c:pt>
                  <c:pt idx="4">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0A0901-CA7E-4027-AF6E-7C3569C665E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11F35A8-50CE-4C4C-9FB7-70A41034153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86BC198-392C-469E-AF97-5C85A5868F8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73B614A-6043-41D9-9339-DA69FE1510B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C98CDA0-4863-4D8B-A25A-F8DAB4A5526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F6B0469-8420-4F11-8410-12F037FFED1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5269828-ECF6-41E8-9153-C2CED8CC63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5C5513E-0610-4312-9D47-A443F338F97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FF1F7E1-FC88-4BA2-87C4-02AA28D86F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7902DC4-F609-4AD8-A5BA-AC55A604F95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1</c:v>
                </c:pt>
                <c:pt idx="1">
                  <c:v>0.01</c:v>
                </c:pt>
                <c:pt idx="2">
                  <c:v>0.56000000000000005</c:v>
                </c:pt>
                <c:pt idx="3">
                  <c:v>0.61</c:v>
                </c:pt>
              </c:numCache>
            </c:numRef>
          </c:xVal>
          <c:yVal>
            <c:numRef>
              <c:f>Sheet1!$B$2:$B$5</c:f>
              <c:numCache>
                <c:formatCode>General</c:formatCode>
                <c:ptCount val="4"/>
                <c:pt idx="0">
                  <c:v>914</c:v>
                </c:pt>
                <c:pt idx="1">
                  <c:v>839</c:v>
                </c:pt>
                <c:pt idx="2">
                  <c:v>7307.5535714285706</c:v>
                </c:pt>
                <c:pt idx="3">
                  <c:v>4743.377049180328</c:v>
                </c:pt>
              </c:numCache>
            </c:numRef>
          </c:yVal>
          <c:bubbleSize>
            <c:numRef>
              <c:f>Sheet1!$C$2:$C$5</c:f>
              <c:numCache>
                <c:formatCode>General</c:formatCode>
                <c:ptCount val="4"/>
                <c:pt idx="0">
                  <c:v>1141.1116</c:v>
                </c:pt>
                <c:pt idx="1">
                  <c:v>1341.184</c:v>
                </c:pt>
                <c:pt idx="2">
                  <c:v>278077.10879999999</c:v>
                </c:pt>
                <c:pt idx="3">
                  <c:v>175947.76449999999</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12CT</c:v>
                  </c:pt>
                  <c:pt idx="1">
                    <c:v>HYDRO 5 SENSITIVE 5 BLADE REFILL SENSITIVE 4CT</c:v>
                  </c:pt>
                  <c:pt idx="2">
                    <c:v>HYDRO 5 SENSITIVE 5 BLADE REFILL SENSITIVE 6CT</c:v>
                  </c:pt>
                  <c:pt idx="3">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C8718C8-458C-43E1-9F52-1FA75E1F0DF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FE75CAA-DF2B-4887-932C-A92D9CF6BFB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E327031-D7B2-4185-8223-4543DC307EA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E2CA89A-5C94-4101-ABD8-6DC390CBFFA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089B566-87AB-4B0A-9B69-016DB1385BA9}"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2417ABB-5FB4-48CF-8FC4-930612D4420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1172C38-CBF1-4133-B21A-C8893405F77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C13BCFB-B719-4D3D-BAB3-8B9E3823E0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27A4CFD-74DA-4E31-A645-7164128DFB3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C04C1E6-5FD9-49BE-A51A-CAE11F1978A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53</c:v>
                </c:pt>
                <c:pt idx="1">
                  <c:v>0.41</c:v>
                </c:pt>
                <c:pt idx="2">
                  <c:v>0.4</c:v>
                </c:pt>
                <c:pt idx="3">
                  <c:v>0.65</c:v>
                </c:pt>
              </c:numCache>
            </c:numRef>
          </c:xVal>
          <c:yVal>
            <c:numRef>
              <c:f>Sheet1!$B$2:$B$5</c:f>
              <c:numCache>
                <c:formatCode>General</c:formatCode>
                <c:ptCount val="4"/>
                <c:pt idx="0">
                  <c:v>3302.6981132075471</c:v>
                </c:pt>
                <c:pt idx="1">
                  <c:v>1148.3170731707321</c:v>
                </c:pt>
                <c:pt idx="2">
                  <c:v>3361.8</c:v>
                </c:pt>
                <c:pt idx="3">
                  <c:v>4936.0153846153844</c:v>
                </c:pt>
              </c:numCache>
            </c:numRef>
          </c:yVal>
          <c:bubbleSize>
            <c:numRef>
              <c:f>Sheet1!$C$2:$C$5</c:f>
              <c:numCache>
                <c:formatCode>General</c:formatCode>
                <c:ptCount val="4"/>
                <c:pt idx="0">
                  <c:v>89489.170399999974</c:v>
                </c:pt>
                <c:pt idx="1">
                  <c:v>28301.748800000001</c:v>
                </c:pt>
                <c:pt idx="2">
                  <c:v>86297.400299999994</c:v>
                </c:pt>
                <c:pt idx="3">
                  <c:v>182797.47649999999</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pt idx="1">
                    <c:v>EQUATE EASY FIT 5 5 BLADE REFILL NORMAL 1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B$2:$B$9</c:f>
              <c:numCache>
                <c:formatCode>General</c:formatCode>
                <c:ptCount val="8"/>
                <c:pt idx="0">
                  <c:v>0.61709939318599438</c:v>
                </c:pt>
                <c:pt idx="1">
                  <c:v>0.24341488493153948</c:v>
                </c:pt>
                <c:pt idx="2">
                  <c:v>4.6230713935869937E-2</c:v>
                </c:pt>
                <c:pt idx="3">
                  <c:v>4.0291297693214836E-2</c:v>
                </c:pt>
                <c:pt idx="4">
                  <c:v>3.9220718455250554E-2</c:v>
                </c:pt>
                <c:pt idx="5">
                  <c:v>1.3513482367956495E-2</c:v>
                </c:pt>
                <c:pt idx="6">
                  <c:v>2.2476461899605861E-4</c:v>
                </c:pt>
                <c:pt idx="7">
                  <c:v>4.7448111782881686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C$2:$C$9</c:f>
              <c:numCache>
                <c:formatCode>General</c:formatCode>
                <c:ptCount val="8"/>
                <c:pt idx="0">
                  <c:v>0.53340453938584742</c:v>
                </c:pt>
                <c:pt idx="1">
                  <c:v>0.14371161548731626</c:v>
                </c:pt>
                <c:pt idx="2">
                  <c:v>7.5193591455273628E-2</c:v>
                </c:pt>
                <c:pt idx="3">
                  <c:v>7.7543391188250918E-2</c:v>
                </c:pt>
                <c:pt idx="4">
                  <c:v>0.11567423230974619</c:v>
                </c:pt>
                <c:pt idx="5">
                  <c:v>4.715620827770356E-2</c:v>
                </c:pt>
                <c:pt idx="6">
                  <c:v>3.4178905206942558E-3</c:v>
                </c:pt>
                <c:pt idx="7">
                  <c:v>3.8985313751668856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D$2:$D$9</c:f>
              <c:numCache>
                <c:formatCode>General</c:formatCode>
                <c:ptCount val="8"/>
                <c:pt idx="0">
                  <c:v>86.437378690644522</c:v>
                </c:pt>
                <c:pt idx="1">
                  <c:v>59.039781206369199</c:v>
                </c:pt>
                <c:pt idx="2">
                  <c:v>162.64856207840583</c:v>
                </c:pt>
                <c:pt idx="3">
                  <c:v>192.45692153844288</c:v>
                </c:pt>
                <c:pt idx="4">
                  <c:v>294.9314466070436</c:v>
                </c:pt>
                <c:pt idx="5">
                  <c:v>348.95674552047018</c:v>
                </c:pt>
                <c:pt idx="6">
                  <c:v>1520.6532664975134</c:v>
                </c:pt>
                <c:pt idx="7">
                  <c:v>82164.09944838724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61D223A-BEC4-4C71-B7DE-66F26C2B719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5A01FF6-9E93-4C78-9EDC-3EABCD751C5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410EAAD-BD81-4DFD-A90A-2EAF9EC6A8A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C57D516-9214-4717-A9E8-CC0BF35592A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17C9E92-73DB-4D74-A6C3-BED34354146C}"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5F426AC-C2FD-404E-8D58-E8A7FC9C0C5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AB15516-1B45-4EBE-BDD4-A3B23942443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34850DE-069E-4059-AA4E-472E27385A3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0FEDE63-CE74-4E41-81B5-2DF0C2BFC6A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E2E2539-815C-490C-BE31-BADC3060D20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4</c:v>
                </c:pt>
                <c:pt idx="1">
                  <c:v>0.31</c:v>
                </c:pt>
                <c:pt idx="2">
                  <c:v>0.05</c:v>
                </c:pt>
                <c:pt idx="3">
                  <c:v>0.04</c:v>
                </c:pt>
                <c:pt idx="4">
                  <c:v>0.79</c:v>
                </c:pt>
                <c:pt idx="5">
                  <c:v>0.83</c:v>
                </c:pt>
              </c:numCache>
            </c:numRef>
          </c:xVal>
          <c:yVal>
            <c:numRef>
              <c:f>Sheet1!$B$2:$B$7</c:f>
              <c:numCache>
                <c:formatCode>General</c:formatCode>
                <c:ptCount val="6"/>
                <c:pt idx="0">
                  <c:v>1094.75</c:v>
                </c:pt>
                <c:pt idx="1">
                  <c:v>5275.4193548387093</c:v>
                </c:pt>
                <c:pt idx="2">
                  <c:v>999.2</c:v>
                </c:pt>
                <c:pt idx="3">
                  <c:v>1055.75</c:v>
                </c:pt>
                <c:pt idx="4">
                  <c:v>4560.0253164556962</c:v>
                </c:pt>
                <c:pt idx="5">
                  <c:v>3435.0481927710839</c:v>
                </c:pt>
              </c:numCache>
            </c:numRef>
          </c:yVal>
          <c:bubbleSize>
            <c:numRef>
              <c:f>Sheet1!$C$2:$C$7</c:f>
              <c:numCache>
                <c:formatCode>General</c:formatCode>
                <c:ptCount val="6"/>
                <c:pt idx="0">
                  <c:v>3101.6833000000001</c:v>
                </c:pt>
                <c:pt idx="1">
                  <c:v>127660.91680000001</c:v>
                </c:pt>
                <c:pt idx="2">
                  <c:v>3205.0187999999998</c:v>
                </c:pt>
                <c:pt idx="3">
                  <c:v>3367.1781000000001</c:v>
                </c:pt>
                <c:pt idx="4">
                  <c:v>244698.5876</c:v>
                </c:pt>
                <c:pt idx="5">
                  <c:v>173389.4657</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EFILL SENSITIVE 12CT</c:v>
                  </c:pt>
                  <c:pt idx="2">
                    <c:v>SCHICK HYDRO 3 SENSITIVE 3 BLADE RAZOR SENSITIVE 4CT</c:v>
                  </c:pt>
                  <c:pt idx="3">
                    <c:v>SCHICK HYDRO 3 SENSITIVE 3 BLADE REFILL SENSITIVE 5CT</c:v>
                  </c:pt>
                  <c:pt idx="4">
                    <c:v>HYDRO 5 SENSITIVE 5 BLADE REFILL SENSITIVE 6CT</c:v>
                  </c:pt>
                  <c:pt idx="5">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D75DA7C-5738-434F-8CB0-10B56A71879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13D93BC-E952-430F-98AD-236AC3FFA89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2AC3C0C-0788-4A02-9667-CA2C5B6D90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2D0E218-84AF-440D-A78D-557540274E0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AFC2932-4703-465A-81BF-77948F875491}"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959C43-8CEE-4B02-BC5F-280493226C2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58A40BE-A606-4520-9772-A2F47E87A6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05FED66-2D88-48C9-A116-6AE3768D665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BBC82B6-7087-4F58-964D-D891E903BFE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BCBCC63-4B4A-46D6-8EC6-A6BF0F2DA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5</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B27B3B6-2C75-4024-B9FD-3E1527179A8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D4294A0-F46B-4B7B-8A16-02FC4FAC238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1C53416-1816-4320-8252-DCD241B2B41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A9C8F24-36C9-45F1-BA3D-8EB3D8FB204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7AF138D-8623-45BC-BFAE-AB20EFFD533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D47D20-2302-421E-BD23-78B39B564C6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A145680-A072-49D2-A345-3CEDF936AEE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8815304-FB7B-4B3A-9B89-8FAFA30C7F5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C004D4E-34F3-4499-8016-E8E6C483F7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6441848-0F90-4AF2-B682-6F6CBFA0ECF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7</c:v>
                </c:pt>
                <c:pt idx="1">
                  <c:v>0.67</c:v>
                </c:pt>
                <c:pt idx="2">
                  <c:v>0.54</c:v>
                </c:pt>
                <c:pt idx="3">
                  <c:v>0.83</c:v>
                </c:pt>
              </c:numCache>
            </c:numRef>
          </c:xVal>
          <c:yVal>
            <c:numRef>
              <c:f>Sheet1!$B$2:$B$5</c:f>
              <c:numCache>
                <c:formatCode>General</c:formatCode>
                <c:ptCount val="4"/>
                <c:pt idx="0">
                  <c:v>2192.542857142857</c:v>
                </c:pt>
                <c:pt idx="1">
                  <c:v>745.05970149253733</c:v>
                </c:pt>
                <c:pt idx="2">
                  <c:v>2624.6851851851852</c:v>
                </c:pt>
                <c:pt idx="3">
                  <c:v>3421.4096385542171</c:v>
                </c:pt>
              </c:numCache>
            </c:numRef>
          </c:yVal>
          <c:bubbleSize>
            <c:numRef>
              <c:f>Sheet1!$C$2:$C$5</c:f>
              <c:numCache>
                <c:formatCode>General</c:formatCode>
                <c:ptCount val="4"/>
                <c:pt idx="0">
                  <c:v>78650.092899999989</c:v>
                </c:pt>
                <c:pt idx="1">
                  <c:v>30082.322400000001</c:v>
                </c:pt>
                <c:pt idx="2">
                  <c:v>85603.147900000011</c:v>
                </c:pt>
                <c:pt idx="3">
                  <c:v>162101.8536</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pt idx="1">
                    <c:v>EQUATE EASY FIT 5 5 BLADE REFILL NORMAL 1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D066436-8400-4D82-9909-248A85FD510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A3BA91E-D189-4747-8DA1-AF525497F78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8DDE659-9531-4A64-B62B-9ADC6244650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80A1410-F3F4-496B-8E55-BA24B202779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87D40BB-57AF-45F4-B63A-30F41FF8AB88}"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E1337EE-82B6-427E-A4FF-F4A2A23A9FB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5FFD412-70AA-4161-AA60-1D7888411FF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9538AAA-D665-4503-B52A-9190C23F280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38135EB-46F3-4189-9A82-B667A0FA7B2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7177C85-E70D-4A59-AF5E-85C5BA5852F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01</c:v>
                </c:pt>
                <c:pt idx="1">
                  <c:v>0.91</c:v>
                </c:pt>
                <c:pt idx="2">
                  <c:v>0.49</c:v>
                </c:pt>
                <c:pt idx="3">
                  <c:v>0.06</c:v>
                </c:pt>
                <c:pt idx="4">
                  <c:v>0.05</c:v>
                </c:pt>
                <c:pt idx="5">
                  <c:v>0.01</c:v>
                </c:pt>
                <c:pt idx="6">
                  <c:v>0.01</c:v>
                </c:pt>
                <c:pt idx="7">
                  <c:v>0.8</c:v>
                </c:pt>
                <c:pt idx="8">
                  <c:v>0.87</c:v>
                </c:pt>
              </c:numCache>
            </c:numRef>
          </c:xVal>
          <c:yVal>
            <c:numRef>
              <c:f>Sheet1!$B$2:$B$10</c:f>
              <c:numCache>
                <c:formatCode>General</c:formatCode>
                <c:ptCount val="9"/>
                <c:pt idx="0">
                  <c:v>1414</c:v>
                </c:pt>
                <c:pt idx="1">
                  <c:v>14923.912087912089</c:v>
                </c:pt>
                <c:pt idx="2">
                  <c:v>66122.918367346938</c:v>
                </c:pt>
                <c:pt idx="3">
                  <c:v>19149.166666666672</c:v>
                </c:pt>
                <c:pt idx="4">
                  <c:v>19381.2</c:v>
                </c:pt>
                <c:pt idx="5">
                  <c:v>789</c:v>
                </c:pt>
                <c:pt idx="6">
                  <c:v>4359</c:v>
                </c:pt>
                <c:pt idx="7">
                  <c:v>57541.387499999997</c:v>
                </c:pt>
                <c:pt idx="8">
                  <c:v>41378.275862068956</c:v>
                </c:pt>
              </c:numCache>
            </c:numRef>
          </c:yVal>
          <c:bubbleSize>
            <c:numRef>
              <c:f>Sheet1!$C$2:$C$10</c:f>
              <c:numCache>
                <c:formatCode>General</c:formatCode>
                <c:ptCount val="9"/>
                <c:pt idx="0">
                  <c:v>2069.6071999999999</c:v>
                </c:pt>
                <c:pt idx="1">
                  <c:v>1055523.5941999999</c:v>
                </c:pt>
                <c:pt idx="2">
                  <c:v>2525616.0184999998</c:v>
                </c:pt>
                <c:pt idx="3">
                  <c:v>72621.147599999997</c:v>
                </c:pt>
                <c:pt idx="4">
                  <c:v>69360.267600000006</c:v>
                </c:pt>
                <c:pt idx="5">
                  <c:v>1733.2224000000001</c:v>
                </c:pt>
                <c:pt idx="6">
                  <c:v>6169.4463999999998</c:v>
                </c:pt>
                <c:pt idx="7">
                  <c:v>3125406.0482000001</c:v>
                </c:pt>
                <c:pt idx="8">
                  <c:v>2189444.7601999999</c:v>
                </c:pt>
              </c:numCache>
            </c:numRef>
          </c:bubbleSize>
          <c:bubble3D val="0"/>
          <c:extLst>
            <c:ext xmlns:c15="http://schemas.microsoft.com/office/drawing/2012/chart" uri="{02D57815-91ED-43cb-92C2-25804820EDAC}">
              <c15:datalabelsRange>
                <c15:f>Sheet1!$E$2:$E$21</c15:f>
                <c15:dlblRangeCache>
                  <c:ptCount val="20"/>
                  <c:pt idx="0">
                    <c:v>HYDRO 5 SENSITIVE 5 BLADE RAZOR SENSITIVE 2CT</c:v>
                  </c:pt>
                  <c:pt idx="1">
                    <c:v>HYDRO 5 SENSITIVE GRAY HOLIDAY GIFT PACK 5 BLADE RAZOR SENSITIVE 3CT</c:v>
                  </c:pt>
                  <c:pt idx="2">
                    <c:v>HYDRO 5 SENSITIVE 5 BLADE REFILL SENSITIVE 12CT</c:v>
                  </c:pt>
                  <c:pt idx="3">
                    <c:v>SCHICK HYDRO 3 SENSITIVE 3 BLADE RAZOR SENSITIVE 4CT</c:v>
                  </c:pt>
                  <c:pt idx="4">
                    <c:v>SCHICK HYDRO 3 SENSITIVE 3 BLADE REFILL SENSITIVE 5CT</c:v>
                  </c:pt>
                  <c:pt idx="5">
                    <c:v>HYDRO 5 DRY SKIN 5 BLADE REFILL NORMAL 4CT</c:v>
                  </c:pt>
                  <c:pt idx="6">
                    <c:v>HYDRO 5 SENSITIVE 5 BLADE REFILL SENSITIVE 4CT</c:v>
                  </c:pt>
                  <c:pt idx="7">
                    <c:v>HYDRO 5 SENSITIVE 5 BLADE REFILL SENSITIVE 6CT</c:v>
                  </c:pt>
                  <c:pt idx="8">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71E474A-2857-4F46-8BBA-42F6449AF71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AC12508-5273-4E6C-880D-CD22CC8224C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AE62AB1-CECD-493B-9DB6-6B119119FAB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486B7A8-5D96-4347-984A-4ACDC2381DB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FDC37CE-20FE-4084-BFE1-17C94081A92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E59ABB-7130-477B-A7E1-6BDA6590E00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FF62D2A-78F2-4867-A017-73CD4B76EE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2D96577-C08B-40F5-BAB1-EC6E3C1CDC8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E07A87-75E4-4EA7-B05A-807A91EBF97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A0531F4-2C1D-426C-9C33-3E586053B85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7.0000000000000007E-2</c:v>
                </c:pt>
                <c:pt idx="1">
                  <c:v>0.13</c:v>
                </c:pt>
              </c:numCache>
            </c:numRef>
          </c:xVal>
          <c:yVal>
            <c:numRef>
              <c:f>Sheet1!$B$2:$B$3</c:f>
              <c:numCache>
                <c:formatCode>General</c:formatCode>
                <c:ptCount val="2"/>
                <c:pt idx="0">
                  <c:v>5990.2857142857138</c:v>
                </c:pt>
                <c:pt idx="1">
                  <c:v>6680.8461538461543</c:v>
                </c:pt>
              </c:numCache>
            </c:numRef>
          </c:yVal>
          <c:bubbleSize>
            <c:numRef>
              <c:f>Sheet1!$C$2:$C$3</c:f>
              <c:numCache>
                <c:formatCode>General</c:formatCode>
                <c:ptCount val="2"/>
                <c:pt idx="0">
                  <c:v>27404.931199999999</c:v>
                </c:pt>
                <c:pt idx="1">
                  <c:v>55007.155300000013</c:v>
                </c:pt>
              </c:numCache>
            </c:numRef>
          </c:bubbleSize>
          <c:bubble3D val="0"/>
          <c:extLst>
            <c:ext xmlns:c15="http://schemas.microsoft.com/office/drawing/2012/chart" uri="{02D57815-91ED-43cb-92C2-25804820EDAC}">
              <c15:datalabelsRange>
                <c15:f>Sheet1!$E$2:$E$21</c15:f>
                <c15:dlblRangeCache>
                  <c:ptCount val="20"/>
                  <c:pt idx="0">
                    <c:v>CREMO 5 BLADE REFILL NORMAL 4CT</c:v>
                  </c:pt>
                  <c:pt idx="1">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F51F867-D0E0-4A77-AE3B-32C043B7EE1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5AFA33F-9317-40CC-B6EE-1B43067CEC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E134821-9370-499E-B2C8-F601D14E57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6C29D84-791B-42D3-B152-59293BDD463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EA72FBD-563F-467C-BFC5-BE85C140333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E7805A2-0F3C-48FC-8D26-AB74AD438B9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E26ABD3-9490-4169-98B1-9FD48F7B89F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D34851C-E053-4428-8CCA-08A2CF4EB6B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E5BE5EC-1101-47D4-A6C4-B00B28E9EA2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5BCCCE5-2786-44F5-B850-388E520A75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77</c:v>
                </c:pt>
                <c:pt idx="1">
                  <c:v>0.71</c:v>
                </c:pt>
                <c:pt idx="2">
                  <c:v>0.6</c:v>
                </c:pt>
                <c:pt idx="3">
                  <c:v>0.86</c:v>
                </c:pt>
              </c:numCache>
            </c:numRef>
          </c:xVal>
          <c:yVal>
            <c:numRef>
              <c:f>Sheet1!$B$2:$B$5</c:f>
              <c:numCache>
                <c:formatCode>General</c:formatCode>
                <c:ptCount val="4"/>
                <c:pt idx="0">
                  <c:v>26568.493506493509</c:v>
                </c:pt>
                <c:pt idx="1">
                  <c:v>8564.5633802816901</c:v>
                </c:pt>
                <c:pt idx="2">
                  <c:v>32905.133333333331</c:v>
                </c:pt>
                <c:pt idx="3">
                  <c:v>46244.011627906977</c:v>
                </c:pt>
              </c:numCache>
            </c:numRef>
          </c:yVal>
          <c:bubbleSize>
            <c:numRef>
              <c:f>Sheet1!$C$2:$C$5</c:f>
              <c:numCache>
                <c:formatCode>General</c:formatCode>
                <c:ptCount val="4"/>
                <c:pt idx="0">
                  <c:v>1046552.1158</c:v>
                </c:pt>
                <c:pt idx="1">
                  <c:v>365615.01729999989</c:v>
                </c:pt>
                <c:pt idx="2">
                  <c:v>1171834.1069</c:v>
                </c:pt>
                <c:pt idx="3">
                  <c:v>2266539.6035000002</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pt idx="1">
                    <c:v>EQUATE EASY FIT 5 5 BLADE REFILL NORMAL 1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91B3874-28DC-4CC2-A2D1-0EDF6A5EF69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13160F9-BAA8-440F-9A1A-5FFB710B06A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6C6A1E8-3E39-487F-9F67-373FC9235D1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112FD6E-8AEC-4011-BB29-D49F877B5D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2DB0C66-388C-46B9-B365-A41A4309DD31}"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786D06D-4DAD-456A-AB92-A709A41DB77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389FCE5-C1D1-4C6C-A9D2-BE2CF726A68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475D855-64BD-4976-87D9-4CB2C655046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546D5DF-3973-4BE3-B249-076F3561619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8649846-67AD-4322-9C22-98E21749CF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44900000000000001</c:v>
                </c:pt>
                <c:pt idx="1">
                  <c:v>4.7E-2</c:v>
                </c:pt>
                <c:pt idx="2">
                  <c:v>8.9999999999999993E-3</c:v>
                </c:pt>
                <c:pt idx="3">
                  <c:v>0.01</c:v>
                </c:pt>
                <c:pt idx="4">
                  <c:v>0.78500000000000003</c:v>
                </c:pt>
              </c:numCache>
            </c:numRef>
          </c:xVal>
          <c:yVal>
            <c:numRef>
              <c:f>Sheet1!$B$2:$B$6</c:f>
              <c:numCache>
                <c:formatCode>General</c:formatCode>
                <c:ptCount val="5"/>
                <c:pt idx="0">
                  <c:v>75823.496659242766</c:v>
                </c:pt>
                <c:pt idx="1">
                  <c:v>21518.936170212761</c:v>
                </c:pt>
                <c:pt idx="2">
                  <c:v>897.77777777777783</c:v>
                </c:pt>
                <c:pt idx="3">
                  <c:v>5644</c:v>
                </c:pt>
                <c:pt idx="4">
                  <c:v>68443.006369426745</c:v>
                </c:pt>
              </c:numCache>
            </c:numRef>
          </c:yVal>
          <c:bubbleSize>
            <c:numRef>
              <c:f>Sheet1!$C$2:$C$6</c:f>
              <c:numCache>
                <c:formatCode>General</c:formatCode>
                <c:ptCount val="5"/>
                <c:pt idx="0">
                  <c:v>2654418.0469</c:v>
                </c:pt>
                <c:pt idx="1">
                  <c:v>72733.447800000009</c:v>
                </c:pt>
                <c:pt idx="2">
                  <c:v>1764.1728000000001</c:v>
                </c:pt>
                <c:pt idx="3">
                  <c:v>8139.9551999999994</c:v>
                </c:pt>
                <c:pt idx="4">
                  <c:v>3648181.7445999999</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12CT</c:v>
                  </c:pt>
                  <c:pt idx="1">
                    <c:v>SCHICK HYDRO 3 SENSITIVE 3 BLADE REFILL SENSITIVE 5CT</c:v>
                  </c:pt>
                  <c:pt idx="2">
                    <c:v>HYDRO 5 DRY SKIN 5 BLADE REFILL NORMAL 4CT</c:v>
                  </c:pt>
                  <c:pt idx="3">
                    <c:v>HYDRO 5 SENSITIVE 5 BLADE REFILL SENSITIVE 4CT</c:v>
                  </c:pt>
                  <c:pt idx="4">
                    <c:v>HYDRO 5 SENSITIVE 5 BLADE REFILL SENSITIVE 6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401B76E-3295-4499-835B-2DBE9171F5F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595FFF5-34A1-4E54-A2A6-2D151B141C2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80BC11-358D-4A51-ADD0-0782F8EBDA9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76B79B9-8D72-43CD-A7C4-26050782D16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1C20194-2F47-47B0-B1A3-0428A9239A3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DFF00C0-E04D-4C8F-A407-206A61C9293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27FD67B-F9DE-47ED-94AF-B64C789C3F9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5DB9641-F56D-4C84-A931-2AD20F395FB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B5BD311-6775-4EBB-92C1-C1F406B724C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77C6394-2F12-48AA-9103-FD7A85CA4B9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6.4000000000000001E-2</c:v>
                </c:pt>
              </c:numCache>
            </c:numRef>
          </c:xVal>
          <c:yVal>
            <c:numRef>
              <c:f>Sheet1!$B$2:$B$2</c:f>
              <c:numCache>
                <c:formatCode>General</c:formatCode>
                <c:ptCount val="1"/>
                <c:pt idx="0">
                  <c:v>6750.3125</c:v>
                </c:pt>
              </c:numCache>
            </c:numRef>
          </c:yVal>
          <c:bubbleSize>
            <c:numRef>
              <c:f>Sheet1!$C$2:$C$2</c:f>
              <c:numCache>
                <c:formatCode>General</c:formatCode>
                <c:ptCount val="1"/>
                <c:pt idx="0">
                  <c:v>28272.369699999999</c:v>
                </c:pt>
              </c:numCache>
            </c:numRef>
          </c:bubbleSize>
          <c:bubble3D val="0"/>
          <c:extLst>
            <c:ext xmlns:c15="http://schemas.microsoft.com/office/drawing/2012/chart" uri="{02D57815-91ED-43cb-92C2-25804820EDAC}">
              <c15:datalabelsRange>
                <c15:f>Sheet1!$E$2:$E$21</c15:f>
                <c15:dlblRangeCache>
                  <c:ptCount val="20"/>
                  <c:pt idx="0">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F40D7A0-829E-4660-AD6D-357AF0B0699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68BAD4C-3E25-4FA0-BC22-23D4F64405D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C53A69E-CA9E-4BDF-B7F7-E1379794B07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2879845-0787-479D-A377-AECF923FCB9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3F090EE-BF1B-4939-BD5E-2185105BE2C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55CD5B0-3901-46C7-BCB3-75E1A4ED70A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92E5112-D1E9-45D7-BC37-9F964014E7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D58CFF2-F169-4D27-887C-40E765E9B21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DB3CFED-B766-4DB3-AEF5-C8C88AC12AF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476D415-A10A-4B45-B21A-619BCD5B5A5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1</c:v>
                </c:pt>
                <c:pt idx="1">
                  <c:v>0.68899999999999995</c:v>
                </c:pt>
                <c:pt idx="2">
                  <c:v>0.58399999999999996</c:v>
                </c:pt>
                <c:pt idx="3">
                  <c:v>0.84499999999999997</c:v>
                </c:pt>
              </c:numCache>
            </c:numRef>
          </c:xVal>
          <c:yVal>
            <c:numRef>
              <c:f>Sheet1!$B$2:$B$5</c:f>
              <c:numCache>
                <c:formatCode>General</c:formatCode>
                <c:ptCount val="4"/>
                <c:pt idx="0">
                  <c:v>779</c:v>
                </c:pt>
                <c:pt idx="1">
                  <c:v>10233.43976777939</c:v>
                </c:pt>
                <c:pt idx="2">
                  <c:v>38536.181506849323</c:v>
                </c:pt>
                <c:pt idx="3">
                  <c:v>54222.520710059172</c:v>
                </c:pt>
              </c:numCache>
            </c:numRef>
          </c:yVal>
          <c:bubbleSize>
            <c:numRef>
              <c:f>Sheet1!$C$2:$C$5</c:f>
              <c:numCache>
                <c:formatCode>General</c:formatCode>
                <c:ptCount val="4"/>
                <c:pt idx="0">
                  <c:v>1094.5673999999999</c:v>
                </c:pt>
                <c:pt idx="1">
                  <c:v>423999.08850000001</c:v>
                </c:pt>
                <c:pt idx="2">
                  <c:v>1343734.6551000001</c:v>
                </c:pt>
                <c:pt idx="3">
                  <c:v>2611438.9335999992</c:v>
                </c:pt>
              </c:numCache>
            </c:numRef>
          </c:bubbleSize>
          <c:bubble3D val="0"/>
          <c:extLst>
            <c:ext xmlns:c15="http://schemas.microsoft.com/office/drawing/2012/chart" uri="{02D57815-91ED-43cb-92C2-25804820EDAC}">
              <c15:datalabelsRange>
                <c15:f>Sheet1!$E$2:$E$21</c15:f>
                <c15:dlblRangeCache>
                  <c:ptCount val="20"/>
                  <c:pt idx="0">
                    <c:v>EQUATE CALIBER 5 5 BLADE REFILL NORMAL 4CT</c:v>
                  </c:pt>
                  <c:pt idx="1">
                    <c:v>EQUATE EASY FIT 5 5 BLADE REFILL NORMAL 1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CF464AC-7F5E-4E1A-91D1-0B52E42F4A2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D9AF03A-8F65-43E0-9E10-401C02E701E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99FDC40-8539-4C3E-BBC9-611DB7995D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5B1E0A2-F1E4-4CD9-9FBB-166D6BC6E1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45446EB-7EB7-44C9-873D-035C6EE6D4A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EE165F9-0B85-41C5-B302-7EA46454B02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4587814-0C03-4804-B3FC-E645FEE190F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66ADA8E-7EC5-4AD0-81E8-CEE9047B5D3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F1F42BC-B15D-43F0-99DF-DDB5ACE577F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90F9DD6-B286-4C4C-B5C7-53760A82112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1</c:v>
                </c:pt>
                <c:pt idx="1">
                  <c:v>0.01</c:v>
                </c:pt>
                <c:pt idx="2">
                  <c:v>0.56000000000000005</c:v>
                </c:pt>
              </c:numCache>
            </c:numRef>
          </c:xVal>
          <c:yVal>
            <c:numRef>
              <c:f>Sheet1!$B$2:$B$4</c:f>
              <c:numCache>
                <c:formatCode>General</c:formatCode>
                <c:ptCount val="3"/>
                <c:pt idx="0">
                  <c:v>914</c:v>
                </c:pt>
                <c:pt idx="1">
                  <c:v>839</c:v>
                </c:pt>
                <c:pt idx="2">
                  <c:v>7307.5535714285706</c:v>
                </c:pt>
              </c:numCache>
            </c:numRef>
          </c:yVal>
          <c:bubbleSize>
            <c:numRef>
              <c:f>Sheet1!$C$2:$C$4</c:f>
              <c:numCache>
                <c:formatCode>General</c:formatCode>
                <c:ptCount val="3"/>
                <c:pt idx="0">
                  <c:v>1141.1116</c:v>
                </c:pt>
                <c:pt idx="1">
                  <c:v>1341.184</c:v>
                </c:pt>
                <c:pt idx="2">
                  <c:v>278077.10879999999</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12CT</c:v>
                  </c:pt>
                  <c:pt idx="1">
                    <c:v>HYDRO 5 SENSITIVE 5 BLADE REFILL SENSITIVE 4CT</c:v>
                  </c:pt>
                  <c:pt idx="2">
                    <c:v>HYDRO 5 SENSITIVE 5 BLADE REFILL SENSITIVE 6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Cremo</c:v>
                </c:pt>
                <c:pt idx="3">
                  <c:v>Others</c:v>
                </c:pt>
              </c:strCache>
            </c:strRef>
          </c:cat>
          <c:val>
            <c:numRef>
              <c:f>Sheet1!$B$2:$B$5</c:f>
              <c:numCache>
                <c:formatCode>General</c:formatCode>
                <c:ptCount val="4"/>
                <c:pt idx="0">
                  <c:v>0.89179053563435384</c:v>
                </c:pt>
                <c:pt idx="1">
                  <c:v>0.10328783626880353</c:v>
                </c:pt>
                <c:pt idx="2">
                  <c:v>3.3204645527582448E-6</c:v>
                </c:pt>
                <c:pt idx="3">
                  <c:v>4.918307632289889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Cremo</c:v>
                </c:pt>
                <c:pt idx="3">
                  <c:v>Others</c:v>
                </c:pt>
              </c:strCache>
            </c:strRef>
          </c:cat>
          <c:val>
            <c:numRef>
              <c:f>Sheet1!$C$2:$C$5</c:f>
              <c:numCache>
                <c:formatCode>General</c:formatCode>
                <c:ptCount val="4"/>
                <c:pt idx="0">
                  <c:v>0.77723970944309939</c:v>
                </c:pt>
                <c:pt idx="1">
                  <c:v>0.20460048426150126</c:v>
                </c:pt>
                <c:pt idx="2">
                  <c:v>1.2106537530266347E-3</c:v>
                </c:pt>
                <c:pt idx="3">
                  <c:v>1.694915254237288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Cremo</c:v>
                </c:pt>
                <c:pt idx="3">
                  <c:v>Others</c:v>
                </c:pt>
              </c:strCache>
            </c:strRef>
          </c:cat>
          <c:val>
            <c:numRef>
              <c:f>Sheet1!$D$2:$D$5</c:f>
              <c:numCache>
                <c:formatCode>General</c:formatCode>
                <c:ptCount val="4"/>
                <c:pt idx="0">
                  <c:v>87.1549627839713</c:v>
                </c:pt>
                <c:pt idx="1">
                  <c:v>198.08768549380255</c:v>
                </c:pt>
                <c:pt idx="2">
                  <c:v>36460.372751787647</c:v>
                </c:pt>
                <c:pt idx="3">
                  <c:v>344.6135095555544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9980052238835</c:v>
                </c:pt>
                <c:pt idx="1">
                  <c:v>1.9947761165745713E-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0.99663299663299676</c:v>
                </c:pt>
                <c:pt idx="1">
                  <c:v>3.367003367003367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99.663319543900627</c:v>
                </c:pt>
                <c:pt idx="1">
                  <c:v>1687910.407101316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C813A16-8C07-43E5-BF98-7826A36954B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8F96F25-B52C-49A3-A835-E41C0C35792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15CA854-7238-4C3D-B349-6F5E3EE91D9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B324DCD-3DBD-41DC-98BD-6A69C35FE2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F264FB1-42DA-456A-AEA9-CD1F248787D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8EAE27C-6F9E-48C7-B1F2-03AA68DD5C1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240E3A4-3C56-461E-9D97-A9295E217A2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DB37E4E-0688-4F98-9D73-090745B2727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3E2F7BE-1E48-4A4D-8358-1277D80FA2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E8542F-A378-461B-8F5A-82D7C90C49F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1</c:v>
                </c:pt>
                <c:pt idx="1">
                  <c:v>0.4</c:v>
                </c:pt>
                <c:pt idx="2">
                  <c:v>0.65</c:v>
                </c:pt>
              </c:numCache>
            </c:numRef>
          </c:xVal>
          <c:yVal>
            <c:numRef>
              <c:f>Sheet1!$B$2:$B$4</c:f>
              <c:numCache>
                <c:formatCode>General</c:formatCode>
                <c:ptCount val="3"/>
                <c:pt idx="0">
                  <c:v>1148.3170731707321</c:v>
                </c:pt>
                <c:pt idx="1">
                  <c:v>3361.8</c:v>
                </c:pt>
                <c:pt idx="2">
                  <c:v>4936.0153846153844</c:v>
                </c:pt>
              </c:numCache>
            </c:numRef>
          </c:yVal>
          <c:bubbleSize>
            <c:numRef>
              <c:f>Sheet1!$C$2:$C$4</c:f>
              <c:numCache>
                <c:formatCode>General</c:formatCode>
                <c:ptCount val="3"/>
                <c:pt idx="0">
                  <c:v>28301.748800000001</c:v>
                </c:pt>
                <c:pt idx="1">
                  <c:v>86297.400299999994</c:v>
                </c:pt>
                <c:pt idx="2">
                  <c:v>182797.47649999999</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8CT</c:v>
                  </c:pt>
                  <c:pt idx="2">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2832061-A7F8-4B43-AEDE-E9BD0582D7E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359F1CC-D54D-4DAE-B4D6-0132F000584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331C966-6A3F-4DBC-803C-B622A5A0764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B93ED0F-310E-4C37-830D-083871AE284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AB8036-E56B-4BF1-9C7A-84CE7D214323}"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977B9C9-430D-44D2-B10D-897FF43E5D6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53721A3-D912-4E99-A7FF-404FBE2513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81AE6A9-C877-4BE5-911C-6731B0ACB24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72F621C-5D1A-4ED5-8DAE-B8E2CCC4786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B257646-9C51-4DD7-8D6B-79574805A41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31</c:v>
                </c:pt>
                <c:pt idx="1">
                  <c:v>0.04</c:v>
                </c:pt>
                <c:pt idx="2">
                  <c:v>0.79</c:v>
                </c:pt>
              </c:numCache>
            </c:numRef>
          </c:xVal>
          <c:yVal>
            <c:numRef>
              <c:f>Sheet1!$B$2:$B$4</c:f>
              <c:numCache>
                <c:formatCode>General</c:formatCode>
                <c:ptCount val="3"/>
                <c:pt idx="0">
                  <c:v>5275.4193548387093</c:v>
                </c:pt>
                <c:pt idx="1">
                  <c:v>1055.75</c:v>
                </c:pt>
                <c:pt idx="2">
                  <c:v>4560.0253164556962</c:v>
                </c:pt>
              </c:numCache>
            </c:numRef>
          </c:yVal>
          <c:bubbleSize>
            <c:numRef>
              <c:f>Sheet1!$C$2:$C$4</c:f>
              <c:numCache>
                <c:formatCode>General</c:formatCode>
                <c:ptCount val="3"/>
                <c:pt idx="0">
                  <c:v>127660.91680000001</c:v>
                </c:pt>
                <c:pt idx="1">
                  <c:v>3367.1781000000001</c:v>
                </c:pt>
                <c:pt idx="2">
                  <c:v>244698.5876</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12CT</c:v>
                  </c:pt>
                  <c:pt idx="1">
                    <c:v>SCHICK HYDRO 3 SENSITIVE 3 BLADE REFILL SENSITIVE 5CT</c:v>
                  </c:pt>
                  <c:pt idx="2">
                    <c:v>HYDRO 5 SENSITIVE 5 BLADE REFILL SENSITIVE 6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2709074-CC0E-4154-B9F6-8A2E5FF4ACD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3B4A50F-C6E4-4FFF-B9A0-661A800FE7E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421B17D-EFA4-439C-9B4D-3E12F94D2FA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A28F98E-05AE-438B-BA94-C6066B4411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50775B8-324B-4601-8834-E2C42D0FA5F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0F0854B-6318-4E1A-9CC1-FAE7EB291C2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D46E186-A433-43B4-899C-BE5C8BDA90B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D8481FA-C4DE-49D7-A3A2-B41669B66D1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EB3B6B1-2A33-4804-80F2-D46EA8AB75C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2DA1C28-3116-4C38-98D8-29BCA3CBDD7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7</c:v>
                </c:pt>
                <c:pt idx="1">
                  <c:v>0.54</c:v>
                </c:pt>
                <c:pt idx="2">
                  <c:v>0.83</c:v>
                </c:pt>
              </c:numCache>
            </c:numRef>
          </c:xVal>
          <c:yVal>
            <c:numRef>
              <c:f>Sheet1!$B$2:$B$4</c:f>
              <c:numCache>
                <c:formatCode>General</c:formatCode>
                <c:ptCount val="3"/>
                <c:pt idx="0">
                  <c:v>745.05970149253733</c:v>
                </c:pt>
                <c:pt idx="1">
                  <c:v>2624.6851851851852</c:v>
                </c:pt>
                <c:pt idx="2">
                  <c:v>3421.4096385542171</c:v>
                </c:pt>
              </c:numCache>
            </c:numRef>
          </c:yVal>
          <c:bubbleSize>
            <c:numRef>
              <c:f>Sheet1!$C$2:$C$4</c:f>
              <c:numCache>
                <c:formatCode>General</c:formatCode>
                <c:ptCount val="3"/>
                <c:pt idx="0">
                  <c:v>30082.322400000001</c:v>
                </c:pt>
                <c:pt idx="1">
                  <c:v>85603.147900000011</c:v>
                </c:pt>
                <c:pt idx="2">
                  <c:v>162101.8536</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8CT</c:v>
                  </c:pt>
                  <c:pt idx="2">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2B763EE-9394-466E-A3D6-4FC62DD8C22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F3F598C-E2DF-4ED1-921D-BE4758996E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3E9DD49-A4C9-4000-B9EA-17B1FCB7CE9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94357D-C529-43F0-810D-6F0102D34E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E9AAE22-CC27-41B4-A0DB-205A9A80E0A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C67865B-AA94-4B0A-87E4-8242B252970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F54F26F-B479-47DA-9455-9E7E0F9F6DE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361EC2F-5598-4139-A094-E9476AC17E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B6A6EFC-9883-49DF-BDC2-E0ADF26443A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0EA4659-1EC6-401E-BABA-3468B21B411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49</c:v>
                </c:pt>
                <c:pt idx="1">
                  <c:v>0.05</c:v>
                </c:pt>
                <c:pt idx="2">
                  <c:v>0.01</c:v>
                </c:pt>
                <c:pt idx="3">
                  <c:v>0.01</c:v>
                </c:pt>
                <c:pt idx="4">
                  <c:v>0.8</c:v>
                </c:pt>
              </c:numCache>
            </c:numRef>
          </c:xVal>
          <c:yVal>
            <c:numRef>
              <c:f>Sheet1!$B$2:$B$6</c:f>
              <c:numCache>
                <c:formatCode>General</c:formatCode>
                <c:ptCount val="5"/>
                <c:pt idx="0">
                  <c:v>66122.918367346938</c:v>
                </c:pt>
                <c:pt idx="1">
                  <c:v>19381.2</c:v>
                </c:pt>
                <c:pt idx="2">
                  <c:v>789</c:v>
                </c:pt>
                <c:pt idx="3">
                  <c:v>4359</c:v>
                </c:pt>
                <c:pt idx="4">
                  <c:v>57541.387499999997</c:v>
                </c:pt>
              </c:numCache>
            </c:numRef>
          </c:yVal>
          <c:bubbleSize>
            <c:numRef>
              <c:f>Sheet1!$C$2:$C$6</c:f>
              <c:numCache>
                <c:formatCode>General</c:formatCode>
                <c:ptCount val="5"/>
                <c:pt idx="0">
                  <c:v>2525616.0184999998</c:v>
                </c:pt>
                <c:pt idx="1">
                  <c:v>69360.267600000006</c:v>
                </c:pt>
                <c:pt idx="2">
                  <c:v>1733.2224000000001</c:v>
                </c:pt>
                <c:pt idx="3">
                  <c:v>6169.4463999999998</c:v>
                </c:pt>
                <c:pt idx="4">
                  <c:v>3125406.0482000001</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12CT</c:v>
                  </c:pt>
                  <c:pt idx="1">
                    <c:v>SCHICK HYDRO 3 SENSITIVE 3 BLADE REFILL SENSITIVE 5CT</c:v>
                  </c:pt>
                  <c:pt idx="2">
                    <c:v>HYDRO 5 DRY SKIN 5 BLADE REFILL NORMAL 4CT</c:v>
                  </c:pt>
                  <c:pt idx="3">
                    <c:v>HYDRO 5 SENSITIVE 5 BLADE REFILL SENSITIVE 4CT</c:v>
                  </c:pt>
                  <c:pt idx="4">
                    <c:v>HYDRO 5 SENSITIVE 5 BLADE REFILL SENSITIVE 6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912C442-478B-4A6B-B256-AAEEF8B6DF5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CDF4379-948A-42CD-A42C-52E42C383CF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0A7B4E0-B11D-44D8-8DAE-2328AB36FFA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F0C1FAF-33EA-4AB3-924E-8D8BD0C37D8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AD06F83-FF10-4B18-9EDF-96CB2C41821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0B5D96A-FC25-4E2A-9811-F540D8FDF79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51CD874-A117-44E9-9D27-01140350906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6A73AC9-CC3F-400C-B862-783ABED7A07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D46885-40EE-464D-A5BF-5539DDA0B6C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7C46703-04BA-4A00-96C3-8ABE47112D9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7.0000000000000007E-2</c:v>
                </c:pt>
              </c:numCache>
            </c:numRef>
          </c:xVal>
          <c:yVal>
            <c:numRef>
              <c:f>Sheet1!$B$2:$B$2</c:f>
              <c:numCache>
                <c:formatCode>General</c:formatCode>
                <c:ptCount val="1"/>
                <c:pt idx="0">
                  <c:v>5990.2857142857138</c:v>
                </c:pt>
              </c:numCache>
            </c:numRef>
          </c:yVal>
          <c:bubbleSize>
            <c:numRef>
              <c:f>Sheet1!$C$2:$C$2</c:f>
              <c:numCache>
                <c:formatCode>General</c:formatCode>
                <c:ptCount val="1"/>
                <c:pt idx="0">
                  <c:v>27404.931199999999</c:v>
                </c:pt>
              </c:numCache>
            </c:numRef>
          </c:bubbleSize>
          <c:bubble3D val="0"/>
          <c:extLst>
            <c:ext xmlns:c15="http://schemas.microsoft.com/office/drawing/2012/chart" uri="{02D57815-91ED-43cb-92C2-25804820EDAC}">
              <c15:datalabelsRange>
                <c15:f>Sheet1!$E$2:$E$21</c15:f>
                <c15:dlblRangeCache>
                  <c:ptCount val="20"/>
                  <c:pt idx="0">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02D19CB-F191-4134-B1F0-9426BB3D5E5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F2D82CB-0150-47AF-8AC1-F1E1BFE542A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050458F-3323-4093-9CC6-7A0B8017DF9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17A7DE3-F18F-444A-91DD-CE7DF986B77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4F4F9A0-BD34-47A2-9FAE-7C5D922C8A1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B3C15F-D007-40B3-88F9-DFC468AE8D8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E3DA494-5FEC-4124-9B90-EBBCA82A847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B13CE67-2BF3-4BFA-9DD1-1CD5E842838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7A5AD83-0D7E-44C7-BC05-47DC48CB78C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1353093-9C4F-448A-AAD0-BB5F9B337F9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1</c:v>
                </c:pt>
                <c:pt idx="1">
                  <c:v>0.6</c:v>
                </c:pt>
                <c:pt idx="2">
                  <c:v>0.86</c:v>
                </c:pt>
              </c:numCache>
            </c:numRef>
          </c:xVal>
          <c:yVal>
            <c:numRef>
              <c:f>Sheet1!$B$2:$B$4</c:f>
              <c:numCache>
                <c:formatCode>General</c:formatCode>
                <c:ptCount val="3"/>
                <c:pt idx="0">
                  <c:v>8564.5633802816901</c:v>
                </c:pt>
                <c:pt idx="1">
                  <c:v>32905.133333333331</c:v>
                </c:pt>
                <c:pt idx="2">
                  <c:v>46244.011627906977</c:v>
                </c:pt>
              </c:numCache>
            </c:numRef>
          </c:yVal>
          <c:bubbleSize>
            <c:numRef>
              <c:f>Sheet1!$C$2:$C$4</c:f>
              <c:numCache>
                <c:formatCode>General</c:formatCode>
                <c:ptCount val="3"/>
                <c:pt idx="0">
                  <c:v>365615.01729999989</c:v>
                </c:pt>
                <c:pt idx="1">
                  <c:v>1171834.1069</c:v>
                </c:pt>
                <c:pt idx="2">
                  <c:v>2266539.6035000002</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8CT</c:v>
                  </c:pt>
                  <c:pt idx="2">
                    <c:v>EQUATE EASY FIT 5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AA4E24-B8A9-4845-9425-094DA846ED5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B90A418-7F55-4A2B-A468-5245A0C2A81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F752B42-785D-4B86-A6E4-CE02E3E98FA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00C99D5-3C5B-428A-8924-451F248B082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FBF67EA-9815-4348-A239-1142E813294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568D1B5-B193-4968-ADAC-A029B1A473B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E4E5771-6FAC-4C6F-8EF2-64E0F205737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1A847E7-F59A-4D5F-A0DF-04313A17C57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78AAD93-18F5-4FE5-9C5B-B680FA391A0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EFA69B9-FA3A-49D0-AA46-F6C12E1CBC5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1</c:v>
                </c:pt>
                <c:pt idx="1">
                  <c:v>0.79400000000000004</c:v>
                </c:pt>
                <c:pt idx="2">
                  <c:v>5.6000000000000001E-2</c:v>
                </c:pt>
                <c:pt idx="3">
                  <c:v>0.85199999999999998</c:v>
                </c:pt>
              </c:numCache>
            </c:numRef>
          </c:xVal>
          <c:yVal>
            <c:numRef>
              <c:f>Sheet1!$B$2:$B$5</c:f>
              <c:numCache>
                <c:formatCode>General</c:formatCode>
                <c:ptCount val="4"/>
                <c:pt idx="0">
                  <c:v>1754</c:v>
                </c:pt>
                <c:pt idx="1">
                  <c:v>17159.559193954661</c:v>
                </c:pt>
                <c:pt idx="2">
                  <c:v>21416.964285714279</c:v>
                </c:pt>
                <c:pt idx="3">
                  <c:v>48994.894366197179</c:v>
                </c:pt>
              </c:numCache>
            </c:numRef>
          </c:yVal>
          <c:bubbleSize>
            <c:numRef>
              <c:f>Sheet1!$C$2:$C$5</c:f>
              <c:numCache>
                <c:formatCode>General</c:formatCode>
                <c:ptCount val="4"/>
                <c:pt idx="0">
                  <c:v>2502.7807999999991</c:v>
                </c:pt>
                <c:pt idx="1">
                  <c:v>1058631.9765999999</c:v>
                </c:pt>
                <c:pt idx="2">
                  <c:v>75862.375199999995</c:v>
                </c:pt>
                <c:pt idx="3">
                  <c:v>2538781.9904</c:v>
                </c:pt>
              </c:numCache>
            </c:numRef>
          </c:bubbleSize>
          <c:bubble3D val="0"/>
          <c:extLst>
            <c:ext xmlns:c15="http://schemas.microsoft.com/office/drawing/2012/chart" uri="{02D57815-91ED-43cb-92C2-25804820EDAC}">
              <c15:datalabelsRange>
                <c15:f>Sheet1!$E$2:$E$21</c15:f>
                <c15:dlblRangeCache>
                  <c:ptCount val="20"/>
                  <c:pt idx="0">
                    <c:v>HYDRO 5 SENSITIVE 5 BLADE RAZOR SENSITIVE 2CT</c:v>
                  </c:pt>
                  <c:pt idx="1">
                    <c:v>HYDRO 5 SENSITIVE GRAY HOLIDAY GIFT PACK 5 BLADE RAZOR SENSITIVE 3CT</c:v>
                  </c:pt>
                  <c:pt idx="2">
                    <c:v>SCHICK HYDRO 3 SENSITIVE 3 BLADE RAZOR SENSITIVE 4CT</c:v>
                  </c:pt>
                  <c:pt idx="3">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31C2040-4DFC-40D9-A3AA-A2AD7C28905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7334A4F-EBB7-4C6F-A8A5-4C51C8F583F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B153C0B-187D-4EA3-8647-9C648EF15D8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00AEFD-2F52-4E00-8DFB-1E35575EABD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8F05D07-AD9A-46BA-8193-3401FAD94D8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B53F790-0954-428E-9F98-7BDD2F68477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F514B9-CA8F-433B-9E16-0CF64D3F002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03D5C27-002E-470B-8E4D-D5EFDC1339D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103F80F-0AE7-4A60-81EA-79309C71269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1AAA902-CD38-4841-9F26-7B837E8B942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11700000000000001</c:v>
                </c:pt>
              </c:numCache>
            </c:numRef>
          </c:xVal>
          <c:yVal>
            <c:numRef>
              <c:f>Sheet1!$B$2:$B$2</c:f>
              <c:numCache>
                <c:formatCode>General</c:formatCode>
                <c:ptCount val="1"/>
                <c:pt idx="0">
                  <c:v>7625.1282051282042</c:v>
                </c:pt>
              </c:numCache>
            </c:numRef>
          </c:yVal>
          <c:bubbleSize>
            <c:numRef>
              <c:f>Sheet1!$C$2:$C$2</c:f>
              <c:numCache>
                <c:formatCode>General</c:formatCode>
                <c:ptCount val="1"/>
                <c:pt idx="0">
                  <c:v>56493.237800000003</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8EE8AF2-3D1E-4D50-94BF-F47620565ED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00B83EB-E07C-4CD9-929E-0EAC50E235B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6D878C0-E1A0-45BA-914E-11F846327A9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45FD1E9-F308-45A4-B549-A6D42A11D19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247D554-D091-433B-A976-BAC579936BD1}"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93C2B35-F0A8-4A42-BEEF-9E114B58F71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77E0CF5-79B5-47D3-84C7-F55478EE5A4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C60C2BA-B641-4899-8176-A735049B9E3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1F39F46-E4FB-4465-921D-96B35A40065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F0F3969-A57F-442C-985A-958AE92A00E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51</c:v>
                </c:pt>
              </c:numCache>
            </c:numRef>
          </c:xVal>
          <c:yVal>
            <c:numRef>
              <c:f>Sheet1!$B$2:$B$2</c:f>
              <c:numCache>
                <c:formatCode>General</c:formatCode>
                <c:ptCount val="1"/>
                <c:pt idx="0">
                  <c:v>31615.11318242344</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88FB9D6-C868-4610-8D36-DAA729C4C56E}"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8E825B6-3A52-4D67-9EE0-882EFC81D31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14BE464-AF0C-4525-B254-0BBF0CFAA53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3E7B58-5836-486E-990E-A12CC83A5CC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2C77C5B-9632-4F96-933C-61E84CAC20BA}"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33B55CF-B1E7-47BA-8C3F-E73BDCA2653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8E574DD-56D0-44EA-A2E3-76C78B03218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CA2F7FD-7544-4DFA-9815-50B77BB0BAE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5D62969-A9C2-454E-AE52-3F54604FC0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218E96E-99D7-4E26-AEC6-A2460097788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61</c:v>
                </c:pt>
              </c:numCache>
            </c:numRef>
          </c:xVal>
          <c:yVal>
            <c:numRef>
              <c:f>Sheet1!$B$2:$B$2</c:f>
              <c:numCache>
                <c:formatCode>General</c:formatCode>
                <c:ptCount val="1"/>
                <c:pt idx="0">
                  <c:v>4743.377049180328</c:v>
                </c:pt>
              </c:numCache>
            </c:numRef>
          </c:yVal>
          <c:bubbleSize>
            <c:numRef>
              <c:f>Sheet1!$C$2:$C$2</c:f>
              <c:numCache>
                <c:formatCode>General</c:formatCode>
                <c:ptCount val="1"/>
                <c:pt idx="0">
                  <c:v>175947.76449999999</c:v>
                </c:pt>
              </c:numCache>
            </c:numRef>
          </c:bubbleSize>
          <c:bubble3D val="0"/>
          <c:extLst>
            <c:ext xmlns:c15="http://schemas.microsoft.com/office/drawing/2012/chart" uri="{02D57815-91ED-43cb-92C2-25804820EDAC}">
              <c15:datalabelsRange>
                <c15:f>Sheet1!$E$2:$E$21</c15:f>
                <c15:dlblRangeCache>
                  <c:ptCount val="20"/>
                  <c:pt idx="0">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1A16BF6-B936-4EEC-8039-2D6136228C1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6DEAE7E-3DD6-4287-9518-35DAB696DEF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7142030-1AF6-4A54-84B4-CA992455E22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9EA659F-8A6A-4CFA-842C-DDF5C0D36EC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266BD39-9FAF-4798-888C-F6987FC998B4}"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517DB59-A4C4-4D05-8DF3-AA0A8F9BFEC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C863CFC-333F-4001-A6AC-CA387A5070B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1414863-67D0-44B8-867E-9E4E3B80B7E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C45A1DC-4EA0-4D0D-9979-38A16992114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7A47369-4A72-4E29-BF37-9519E96702E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53</c:v>
                </c:pt>
              </c:numCache>
            </c:numRef>
          </c:xVal>
          <c:yVal>
            <c:numRef>
              <c:f>Sheet1!$B$2:$B$2</c:f>
              <c:numCache>
                <c:formatCode>General</c:formatCode>
                <c:ptCount val="1"/>
                <c:pt idx="0">
                  <c:v>3302.6981132075471</c:v>
                </c:pt>
              </c:numCache>
            </c:numRef>
          </c:yVal>
          <c:bubbleSize>
            <c:numRef>
              <c:f>Sheet1!$C$2:$C$2</c:f>
              <c:numCache>
                <c:formatCode>General</c:formatCode>
                <c:ptCount val="1"/>
                <c:pt idx="0">
                  <c:v>89489.170399999974</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C3D0863-EB49-454A-9010-75E6C8979F4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9503C08-AD44-4E6B-BE2D-5C4F80C859C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901068B-E0F7-43C9-9F4D-C7AF5DBDEA3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1CED93F-4101-43CC-9FF1-18E900E03A9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9C685E1-1616-4221-AC70-6D6FB1F42A10}"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F475BEE-8941-4BA4-A015-03E6B0C9346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D91C288-E241-4860-A7A6-1DD6AAEAC84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F8BACEC-DA75-470C-980C-322F2C885FC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73237B4-9037-464D-9323-34FD9F66A9B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3B294D4-054C-4E4A-BE31-F5906D68D92B}"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4</c:v>
                </c:pt>
                <c:pt idx="1">
                  <c:v>0.05</c:v>
                </c:pt>
                <c:pt idx="2">
                  <c:v>0.83</c:v>
                </c:pt>
              </c:numCache>
            </c:numRef>
          </c:xVal>
          <c:yVal>
            <c:numRef>
              <c:f>Sheet1!$B$2:$B$4</c:f>
              <c:numCache>
                <c:formatCode>General</c:formatCode>
                <c:ptCount val="3"/>
                <c:pt idx="0">
                  <c:v>1094.75</c:v>
                </c:pt>
                <c:pt idx="1">
                  <c:v>999.2</c:v>
                </c:pt>
                <c:pt idx="2">
                  <c:v>3435.0481927710839</c:v>
                </c:pt>
              </c:numCache>
            </c:numRef>
          </c:yVal>
          <c:bubbleSize>
            <c:numRef>
              <c:f>Sheet1!$C$2:$C$4</c:f>
              <c:numCache>
                <c:formatCode>General</c:formatCode>
                <c:ptCount val="3"/>
                <c:pt idx="0">
                  <c:v>3101.6833000000001</c:v>
                </c:pt>
                <c:pt idx="1">
                  <c:v>3205.0187999999998</c:v>
                </c:pt>
                <c:pt idx="2">
                  <c:v>173389.4657</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SCHICK HYDRO 3 SENSITIVE 3 BLADE RAZOR SENSITIVE 4CT</c:v>
                  </c:pt>
                  <c:pt idx="2">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D65AC57-B1BB-4A1F-A408-C322FC6134C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7271631-24EE-43B1-8190-D30FBFF8C484}"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C448862-13CA-4984-9B07-5876F256FF4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D89450B-E0CD-4576-8BA1-125D3BCBF99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A220231-9977-4BA5-982F-ED44D10D9142}"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E2F8EC1-4FD7-48C7-A4D1-FCBA1FE7C08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B77398-302A-494C-91A7-68C22C6A7FD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0BFCFE-343B-41FA-9C2A-CBF73405635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7E8A854-41AA-4A54-88CB-3A638A77309A}"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FD19D8B-9906-42BF-AA5E-A174BB93D64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5</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C460F3C-07FA-4B2B-A135-F6B5AC6A57F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606F98F-E90E-4ACC-A02A-FB7BC855D58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A3BCCAA-F583-404B-870A-737F164DA0F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518E902-4935-4FD1-ADAA-3F602344B08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E8B7A3C-0116-4559-A068-5A49D423138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922B374-86A2-411D-9488-ABCA8185B7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A1DD7FD-7A6B-4545-963E-D3CB722DC9B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920825-90D6-4768-99A9-527E4DD661F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CF569A8-8AF7-48F9-A8AD-4E52B57333E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A5CED05-F8B7-4A22-832C-45935D98F57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c:v>
                </c:pt>
              </c:numCache>
            </c:numRef>
          </c:xVal>
          <c:yVal>
            <c:numRef>
              <c:f>Sheet1!$B$2:$B$2</c:f>
              <c:numCache>
                <c:formatCode>General</c:formatCode>
                <c:ptCount val="1"/>
                <c:pt idx="0">
                  <c:v>2192.542857142857</c:v>
                </c:pt>
              </c:numCache>
            </c:numRef>
          </c:yVal>
          <c:bubbleSize>
            <c:numRef>
              <c:f>Sheet1!$C$2:$C$2</c:f>
              <c:numCache>
                <c:formatCode>General</c:formatCode>
                <c:ptCount val="1"/>
                <c:pt idx="0">
                  <c:v>78650.092899999989</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367055-C425-4B04-A1AF-634B04EB368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2A4BDFA-7785-4CED-A687-20A9B5B9302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5A4BFE3-FD10-4250-9ABC-167C08D81CE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49A633A-3F73-4DB1-BDAE-020C011E43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DAAE7B7-8C27-4F87-A115-593A9A713B4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EDC18FA-D7FC-478B-8411-FD6FB789C5C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ABA7F9C-1563-4403-8311-7A5B4816DEC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5796A16-B55B-43AE-BB9C-E76A03E19AE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4DEE90E-8E66-439B-9105-5FBE78716D6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714B261-93C4-4E21-8693-AA94BB5570E8}"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1</c:v>
                </c:pt>
                <c:pt idx="1">
                  <c:v>0.91</c:v>
                </c:pt>
                <c:pt idx="2">
                  <c:v>0.06</c:v>
                </c:pt>
                <c:pt idx="3">
                  <c:v>0.87</c:v>
                </c:pt>
              </c:numCache>
            </c:numRef>
          </c:xVal>
          <c:yVal>
            <c:numRef>
              <c:f>Sheet1!$B$2:$B$5</c:f>
              <c:numCache>
                <c:formatCode>General</c:formatCode>
                <c:ptCount val="4"/>
                <c:pt idx="0">
                  <c:v>1414</c:v>
                </c:pt>
                <c:pt idx="1">
                  <c:v>14923.912087912089</c:v>
                </c:pt>
                <c:pt idx="2">
                  <c:v>19149.166666666672</c:v>
                </c:pt>
                <c:pt idx="3">
                  <c:v>41378.275862068956</c:v>
                </c:pt>
              </c:numCache>
            </c:numRef>
          </c:yVal>
          <c:bubbleSize>
            <c:numRef>
              <c:f>Sheet1!$C$2:$C$5</c:f>
              <c:numCache>
                <c:formatCode>General</c:formatCode>
                <c:ptCount val="4"/>
                <c:pt idx="0">
                  <c:v>2069.6071999999999</c:v>
                </c:pt>
                <c:pt idx="1">
                  <c:v>1055523.5941999999</c:v>
                </c:pt>
                <c:pt idx="2">
                  <c:v>72621.147599999997</c:v>
                </c:pt>
                <c:pt idx="3">
                  <c:v>2189444.7601999999</c:v>
                </c:pt>
              </c:numCache>
            </c:numRef>
          </c:bubbleSize>
          <c:bubble3D val="0"/>
          <c:extLst>
            <c:ext xmlns:c15="http://schemas.microsoft.com/office/drawing/2012/chart" uri="{02D57815-91ED-43cb-92C2-25804820EDAC}">
              <c15:datalabelsRange>
                <c15:f>Sheet1!$E$2:$E$21</c15:f>
                <c15:dlblRangeCache>
                  <c:ptCount val="20"/>
                  <c:pt idx="0">
                    <c:v>HYDRO 5 SENSITIVE 5 BLADE RAZOR SENSITIVE 2CT</c:v>
                  </c:pt>
                  <c:pt idx="1">
                    <c:v>HYDRO 5 SENSITIVE GRAY HOLIDAY GIFT PACK 5 BLADE RAZOR SENSITIVE 3CT</c:v>
                  </c:pt>
                  <c:pt idx="2">
                    <c:v>SCHICK HYDRO 3 SENSITIVE 3 BLADE RAZOR SENSITIVE 4CT</c:v>
                  </c:pt>
                  <c:pt idx="3">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00FE278-6E5E-4271-904C-810F5324017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7C0C69E-1EE2-4A52-950B-35FC782D1CD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FC45E82-4EF5-4512-B728-AAC400A6823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682E63E-6C15-4617-AF23-BE2B3C6AE356}"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BAAA19B-7363-40C6-A8D0-16A39D9BA22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1DDC109-904F-4567-BB9C-7A64DE29E16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0E848E-73E1-4745-B347-0779F73E845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360E0EB-8640-4A86-B7AF-E55B0D73DB3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2C42607-7025-4B56-96C4-20DF8FA7B64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297288E-079C-4BD1-B849-9FE6BB118F4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13</c:v>
                </c:pt>
              </c:numCache>
            </c:numRef>
          </c:xVal>
          <c:yVal>
            <c:numRef>
              <c:f>Sheet1!$B$2:$B$2</c:f>
              <c:numCache>
                <c:formatCode>General</c:formatCode>
                <c:ptCount val="1"/>
                <c:pt idx="0">
                  <c:v>6680.8461538461543</c:v>
                </c:pt>
              </c:numCache>
            </c:numRef>
          </c:yVal>
          <c:bubbleSize>
            <c:numRef>
              <c:f>Sheet1!$C$2:$C$2</c:f>
              <c:numCache>
                <c:formatCode>General</c:formatCode>
                <c:ptCount val="1"/>
                <c:pt idx="0">
                  <c:v>55007.155300000013</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CB9EB25-74DB-4624-A141-7A40D758EB87}"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CEA7E23-2F81-4195-A357-4AD78DC8044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D5EA20E-5D0A-47C8-A50E-FE6F5582B04C}"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A1575BF-B988-4F26-94CD-2245419A37FD}"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C797919-6EA1-49C4-A0EB-3BC8385C98E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1CF8F7D-7921-4C71-8244-6D2B9D0D13CF}"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55F68D9-6BB0-435F-B0B7-1CD3AEA2BF4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4F435B8-B24D-4715-B124-6C00952D0A82}"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18AEA15-7923-4DF1-BFDE-7633DFFD4D69}"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F5C2F56-BA66-4F4A-8CE9-D6D8C9D1DF80}"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7</c:v>
                </c:pt>
              </c:numCache>
            </c:numRef>
          </c:xVal>
          <c:yVal>
            <c:numRef>
              <c:f>Sheet1!$B$2:$B$2</c:f>
              <c:numCache>
                <c:formatCode>General</c:formatCode>
                <c:ptCount val="1"/>
                <c:pt idx="0">
                  <c:v>26568.493506493509</c:v>
                </c:pt>
              </c:numCache>
            </c:numRef>
          </c:yVal>
          <c:bubbleSize>
            <c:numRef>
              <c:f>Sheet1!$C$2:$C$2</c:f>
              <c:numCache>
                <c:formatCode>General</c:formatCode>
                <c:ptCount val="1"/>
                <c:pt idx="0">
                  <c:v>1046552.1158</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B$2:$B$10</c:f>
              <c:numCache>
                <c:formatCode>General</c:formatCode>
                <c:ptCount val="9"/>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pt idx="8">
                  <c:v>2.7626930741124635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C$2:$C$10</c:f>
              <c:numCache>
                <c:formatCode>General</c:formatCode>
                <c:ptCount val="9"/>
                <c:pt idx="0">
                  <c:v>0.44025164210900031</c:v>
                </c:pt>
                <c:pt idx="1">
                  <c:v>8.8807030001775158E-2</c:v>
                </c:pt>
                <c:pt idx="2">
                  <c:v>0.19079531333214964</c:v>
                </c:pt>
                <c:pt idx="3">
                  <c:v>9.7417006923486441E-2</c:v>
                </c:pt>
                <c:pt idx="4">
                  <c:v>0.11147479140777554</c:v>
                </c:pt>
                <c:pt idx="5">
                  <c:v>3.3707615835256478E-2</c:v>
                </c:pt>
                <c:pt idx="6">
                  <c:v>1.6731759275696766E-2</c:v>
                </c:pt>
                <c:pt idx="7">
                  <c:v>1.6898189241966958E-2</c:v>
                </c:pt>
                <c:pt idx="8">
                  <c:v>3.916651872891882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D$2:$D$10</c:f>
              <c:numCache>
                <c:formatCode>General</c:formatCode>
                <c:ptCount val="9"/>
                <c:pt idx="0">
                  <c:v>77.943109657321656</c:v>
                </c:pt>
                <c:pt idx="1">
                  <c:v>62.704507972441746</c:v>
                </c:pt>
                <c:pt idx="2">
                  <c:v>180.78636361081089</c:v>
                </c:pt>
                <c:pt idx="3">
                  <c:v>137.87041497670762</c:v>
                </c:pt>
                <c:pt idx="4">
                  <c:v>162.73691351281562</c:v>
                </c:pt>
                <c:pt idx="5">
                  <c:v>129.75796165361803</c:v>
                </c:pt>
                <c:pt idx="6">
                  <c:v>139.64526307728184</c:v>
                </c:pt>
                <c:pt idx="7">
                  <c:v>159.34009250859432</c:v>
                </c:pt>
                <c:pt idx="8">
                  <c:v>1417.69344904523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Others</c:v>
                </c:pt>
              </c:strCache>
            </c:strRef>
          </c:cat>
          <c:val>
            <c:numRef>
              <c:f>Sheet1!$B$2:$B$4</c:f>
              <c:numCache>
                <c:formatCode>General</c:formatCode>
                <c:ptCount val="3"/>
                <c:pt idx="0">
                  <c:v>0.89179053563435384</c:v>
                </c:pt>
                <c:pt idx="1">
                  <c:v>0.10328783626880353</c:v>
                </c:pt>
                <c:pt idx="2">
                  <c:v>4.921628096842647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Others</c:v>
                </c:pt>
              </c:strCache>
            </c:strRef>
          </c:cat>
          <c:val>
            <c:numRef>
              <c:f>Sheet1!$C$2:$C$4</c:f>
              <c:numCache>
                <c:formatCode>General</c:formatCode>
                <c:ptCount val="3"/>
                <c:pt idx="0">
                  <c:v>0.77723970944309939</c:v>
                </c:pt>
                <c:pt idx="1">
                  <c:v>0.20460048426150126</c:v>
                </c:pt>
                <c:pt idx="2">
                  <c:v>1.815980629539951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Others</c:v>
                </c:pt>
              </c:strCache>
            </c:strRef>
          </c:cat>
          <c:val>
            <c:numRef>
              <c:f>Sheet1!$D$2:$D$4</c:f>
              <c:numCache>
                <c:formatCode>General</c:formatCode>
                <c:ptCount val="3"/>
                <c:pt idx="0">
                  <c:v>87.1549627839713</c:v>
                </c:pt>
                <c:pt idx="1">
                  <c:v>198.08768549380255</c:v>
                </c:pt>
                <c:pt idx="2">
                  <c:v>368.979653441297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B$2:$B$6</c:f>
              <c:numCache>
                <c:formatCode>General</c:formatCode>
                <c:ptCount val="5"/>
                <c:pt idx="0">
                  <c:v>0.8391616314870245</c:v>
                </c:pt>
                <c:pt idx="1">
                  <c:v>8.0330250724088836E-2</c:v>
                </c:pt>
                <c:pt idx="2">
                  <c:v>6.5429725633512126E-2</c:v>
                </c:pt>
                <c:pt idx="3">
                  <c:v>1.1916705761139099E-2</c:v>
                </c:pt>
                <c:pt idx="4">
                  <c:v>3.16168639423538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C$2:$C$6</c:f>
              <c:numCache>
                <c:formatCode>General</c:formatCode>
                <c:ptCount val="5"/>
                <c:pt idx="0">
                  <c:v>0.61954108068097713</c:v>
                </c:pt>
                <c:pt idx="1">
                  <c:v>0.15914137675795706</c:v>
                </c:pt>
                <c:pt idx="2">
                  <c:v>7.4019245003700967E-2</c:v>
                </c:pt>
                <c:pt idx="3">
                  <c:v>5.9215396002960774E-2</c:v>
                </c:pt>
                <c:pt idx="4">
                  <c:v>8.808290155440413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D$2:$D$6</c:f>
              <c:numCache>
                <c:formatCode>General</c:formatCode>
                <c:ptCount val="5"/>
                <c:pt idx="0">
                  <c:v>73.82857573970918</c:v>
                </c:pt>
                <c:pt idx="1">
                  <c:v>198.10890084802753</c:v>
                </c:pt>
                <c:pt idx="2">
                  <c:v>113.12785478927549</c:v>
                </c:pt>
                <c:pt idx="3">
                  <c:v>496.91078381799764</c:v>
                </c:pt>
                <c:pt idx="4">
                  <c:v>2785.946819868129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Equate</c:v>
                </c:pt>
                <c:pt idx="3">
                  <c:v>Dollar Shave Club</c:v>
                </c:pt>
                <c:pt idx="4">
                  <c:v>Schick</c:v>
                </c:pt>
                <c:pt idx="5">
                  <c:v>Cremo</c:v>
                </c:pt>
                <c:pt idx="6">
                  <c:v>Others</c:v>
                </c:pt>
              </c:strCache>
            </c:strRef>
          </c:cat>
          <c:val>
            <c:numRef>
              <c:f>Sheet1!$B$2:$B$8</c:f>
              <c:numCache>
                <c:formatCode>General</c:formatCode>
                <c:ptCount val="7"/>
                <c:pt idx="0">
                  <c:v>0.62568502670852777</c:v>
                </c:pt>
                <c:pt idx="1">
                  <c:v>0.24117258792104182</c:v>
                </c:pt>
                <c:pt idx="2">
                  <c:v>4.8878093988261435E-2</c:v>
                </c:pt>
                <c:pt idx="3">
                  <c:v>4.3446221986879467E-2</c:v>
                </c:pt>
                <c:pt idx="4">
                  <c:v>3.9975640468725468E-2</c:v>
                </c:pt>
                <c:pt idx="5">
                  <c:v>6.6141515998562787E-6</c:v>
                </c:pt>
                <c:pt idx="6">
                  <c:v>8.3581477496419117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Equate</c:v>
                </c:pt>
                <c:pt idx="3">
                  <c:v>Dollar Shave Club</c:v>
                </c:pt>
                <c:pt idx="4">
                  <c:v>Schick</c:v>
                </c:pt>
                <c:pt idx="5">
                  <c:v>Cremo</c:v>
                </c:pt>
                <c:pt idx="6">
                  <c:v>Others</c:v>
                </c:pt>
              </c:strCache>
            </c:strRef>
          </c:cat>
          <c:val>
            <c:numRef>
              <c:f>Sheet1!$C$2:$C$8</c:f>
              <c:numCache>
                <c:formatCode>General</c:formatCode>
                <c:ptCount val="7"/>
                <c:pt idx="0">
                  <c:v>0.51269990592662285</c:v>
                </c:pt>
                <c:pt idx="1">
                  <c:v>0.19096895578551273</c:v>
                </c:pt>
                <c:pt idx="2">
                  <c:v>0.13922859830667925</c:v>
                </c:pt>
                <c:pt idx="3">
                  <c:v>8.5606773283160895E-2</c:v>
                </c:pt>
                <c:pt idx="4">
                  <c:v>5.6444026340545649E-2</c:v>
                </c:pt>
                <c:pt idx="5">
                  <c:v>9.4073377234242734E-4</c:v>
                </c:pt>
                <c:pt idx="6">
                  <c:v>1.41110065851364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Equate</c:v>
                </c:pt>
                <c:pt idx="3">
                  <c:v>Dollar Shave Club</c:v>
                </c:pt>
                <c:pt idx="4">
                  <c:v>Schick</c:v>
                </c:pt>
                <c:pt idx="5">
                  <c:v>Cremo</c:v>
                </c:pt>
                <c:pt idx="6">
                  <c:v>Others</c:v>
                </c:pt>
              </c:strCache>
            </c:strRef>
          </c:cat>
          <c:val>
            <c:numRef>
              <c:f>Sheet1!$D$2:$D$8</c:f>
              <c:numCache>
                <c:formatCode>General</c:formatCode>
                <c:ptCount val="7"/>
                <c:pt idx="0">
                  <c:v>81.942172825155609</c:v>
                </c:pt>
                <c:pt idx="1">
                  <c:v>79.183524724640193</c:v>
                </c:pt>
                <c:pt idx="2">
                  <c:v>284.84866521210176</c:v>
                </c:pt>
                <c:pt idx="3">
                  <c:v>197.04077677689372</c:v>
                </c:pt>
                <c:pt idx="4">
                  <c:v>141.19605259283853</c:v>
                </c:pt>
                <c:pt idx="5">
                  <c:v>14223.045210558357</c:v>
                </c:pt>
                <c:pt idx="6">
                  <c:v>1688.29350806115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Bic</c:v>
                </c:pt>
                <c:pt idx="3">
                  <c:v>Equate</c:v>
                </c:pt>
                <c:pt idx="4">
                  <c:v>Schick</c:v>
                </c:pt>
                <c:pt idx="5">
                  <c:v>Dollar Shave Club</c:v>
                </c:pt>
                <c:pt idx="6">
                  <c:v>Others</c:v>
                </c:pt>
              </c:strCache>
            </c:strRef>
          </c:cat>
          <c:val>
            <c:numRef>
              <c:f>Sheet1!$B$2:$B$8</c:f>
              <c:numCache>
                <c:formatCode>General</c:formatCode>
                <c:ptCount val="7"/>
                <c:pt idx="0">
                  <c:v>0.57215875792109039</c:v>
                </c:pt>
                <c:pt idx="1">
                  <c:v>0.12903402387555485</c:v>
                </c:pt>
                <c:pt idx="2">
                  <c:v>0.1047374789670963</c:v>
                </c:pt>
                <c:pt idx="3">
                  <c:v>8.6360836984151618E-2</c:v>
                </c:pt>
                <c:pt idx="4">
                  <c:v>6.9859745722448893E-2</c:v>
                </c:pt>
                <c:pt idx="5">
                  <c:v>2.8475386707381922E-2</c:v>
                </c:pt>
                <c:pt idx="6">
                  <c:v>9.373769822276020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Bic</c:v>
                </c:pt>
                <c:pt idx="3">
                  <c:v>Equate</c:v>
                </c:pt>
                <c:pt idx="4">
                  <c:v>Schick</c:v>
                </c:pt>
                <c:pt idx="5">
                  <c:v>Dollar Shave Club</c:v>
                </c:pt>
                <c:pt idx="6">
                  <c:v>Others</c:v>
                </c:pt>
              </c:strCache>
            </c:strRef>
          </c:cat>
          <c:val>
            <c:numRef>
              <c:f>Sheet1!$C$2:$C$8</c:f>
              <c:numCache>
                <c:formatCode>General</c:formatCode>
                <c:ptCount val="7"/>
                <c:pt idx="0">
                  <c:v>0.42446043165467695</c:v>
                </c:pt>
                <c:pt idx="1">
                  <c:v>8.8928856914468474E-2</c:v>
                </c:pt>
                <c:pt idx="2">
                  <c:v>0.17885691446842533</c:v>
                </c:pt>
                <c:pt idx="3">
                  <c:v>0.14248601119104728</c:v>
                </c:pt>
                <c:pt idx="4">
                  <c:v>0.10791366906474829</c:v>
                </c:pt>
                <c:pt idx="5">
                  <c:v>3.896882494004799E-2</c:v>
                </c:pt>
                <c:pt idx="6">
                  <c:v>1.838529176658674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Bic</c:v>
                </c:pt>
                <c:pt idx="3">
                  <c:v>Equate</c:v>
                </c:pt>
                <c:pt idx="4">
                  <c:v>Schick</c:v>
                </c:pt>
                <c:pt idx="5">
                  <c:v>Dollar Shave Club</c:v>
                </c:pt>
                <c:pt idx="6">
                  <c:v>Others</c:v>
                </c:pt>
              </c:strCache>
            </c:strRef>
          </c:cat>
          <c:val>
            <c:numRef>
              <c:f>Sheet1!$D$2:$D$8</c:f>
              <c:numCache>
                <c:formatCode>General</c:formatCode>
                <c:ptCount val="7"/>
                <c:pt idx="0">
                  <c:v>74.185778995489343</c:v>
                </c:pt>
                <c:pt idx="1">
                  <c:v>68.918920950829786</c:v>
                </c:pt>
                <c:pt idx="2">
                  <c:v>170.76686992305204</c:v>
                </c:pt>
                <c:pt idx="3">
                  <c:v>164.98915036823391</c:v>
                </c:pt>
                <c:pt idx="4">
                  <c:v>154.47188928154239</c:v>
                </c:pt>
                <c:pt idx="5">
                  <c:v>136.85090685685319</c:v>
                </c:pt>
                <c:pt idx="6">
                  <c:v>196.1355155414159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Comfort 3</c:v>
                </c:pt>
                <c:pt idx="7">
                  <c:v>Van Der Hagen</c:v>
                </c:pt>
                <c:pt idx="8">
                  <c:v>Others</c:v>
                </c:pt>
              </c:strCache>
            </c:strRef>
          </c:cat>
          <c:val>
            <c:numRef>
              <c:f>Sheet1!$B$2:$B$10</c:f>
              <c:numCache>
                <c:formatCode>General</c:formatCode>
                <c:ptCount val="9"/>
                <c:pt idx="0">
                  <c:v>0.60821345079648781</c:v>
                </c:pt>
                <c:pt idx="1">
                  <c:v>0.11716739610818547</c:v>
                </c:pt>
                <c:pt idx="2">
                  <c:v>9.8847156376664469E-2</c:v>
                </c:pt>
                <c:pt idx="3">
                  <c:v>6.9469275220367055E-2</c:v>
                </c:pt>
                <c:pt idx="4">
                  <c:v>6.4424733429131145E-2</c:v>
                </c:pt>
                <c:pt idx="5">
                  <c:v>2.0756485770872024E-2</c:v>
                </c:pt>
                <c:pt idx="6">
                  <c:v>1.0653408966937771E-2</c:v>
                </c:pt>
                <c:pt idx="7">
                  <c:v>1.0361762303401785E-2</c:v>
                </c:pt>
                <c:pt idx="8">
                  <c:v>1.0633102795252172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Comfort 3</c:v>
                </c:pt>
                <c:pt idx="7">
                  <c:v>Van Der Hagen</c:v>
                </c:pt>
                <c:pt idx="8">
                  <c:v>Others</c:v>
                </c:pt>
              </c:strCache>
            </c:strRef>
          </c:cat>
          <c:val>
            <c:numRef>
              <c:f>Sheet1!$C$2:$C$10</c:f>
              <c:numCache>
                <c:formatCode>General</c:formatCode>
                <c:ptCount val="9"/>
                <c:pt idx="0">
                  <c:v>0.45586808923375299</c:v>
                </c:pt>
                <c:pt idx="1">
                  <c:v>8.7536372453928077E-2</c:v>
                </c:pt>
                <c:pt idx="2">
                  <c:v>0.18416585838991234</c:v>
                </c:pt>
                <c:pt idx="3">
                  <c:v>0.1032977691561589</c:v>
                </c:pt>
                <c:pt idx="4">
                  <c:v>9.8448108632395545E-2</c:v>
                </c:pt>
                <c:pt idx="5">
                  <c:v>3.4190106692531468E-2</c:v>
                </c:pt>
                <c:pt idx="6">
                  <c:v>1.8307468477206566E-2</c:v>
                </c:pt>
                <c:pt idx="7">
                  <c:v>1.6488845780795319E-2</c:v>
                </c:pt>
                <c:pt idx="8">
                  <c:v>1.69738118331716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Comfort 3</c:v>
                </c:pt>
                <c:pt idx="7">
                  <c:v>Van Der Hagen</c:v>
                </c:pt>
                <c:pt idx="8">
                  <c:v>Others</c:v>
                </c:pt>
              </c:strCache>
            </c:strRef>
          </c:cat>
          <c:val>
            <c:numRef>
              <c:f>Sheet1!$D$2:$D$10</c:f>
              <c:numCache>
                <c:formatCode>General</c:formatCode>
                <c:ptCount val="9"/>
                <c:pt idx="0">
                  <c:v>74.951990725750889</c:v>
                </c:pt>
                <c:pt idx="1">
                  <c:v>74.710521323783752</c:v>
                </c:pt>
                <c:pt idx="2">
                  <c:v>186.31376474618511</c:v>
                </c:pt>
                <c:pt idx="3">
                  <c:v>148.69561950730412</c:v>
                </c:pt>
                <c:pt idx="4">
                  <c:v>152.81104537388731</c:v>
                </c:pt>
                <c:pt idx="5">
                  <c:v>164.72011240222128</c:v>
                </c:pt>
                <c:pt idx="6">
                  <c:v>171.84610610578005</c:v>
                </c:pt>
                <c:pt idx="7">
                  <c:v>159.13167372486436</c:v>
                </c:pt>
                <c:pt idx="8">
                  <c:v>1596.317853783064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B$2:$B$10</c:f>
              <c:numCache>
                <c:formatCode>General</c:formatCode>
                <c:ptCount val="9"/>
                <c:pt idx="0">
                  <c:v>0.56090594801346816</c:v>
                </c:pt>
                <c:pt idx="1">
                  <c:v>0.14437866093188914</c:v>
                </c:pt>
                <c:pt idx="2">
                  <c:v>0.10612175297548615</c:v>
                </c:pt>
                <c:pt idx="3">
                  <c:v>6.9762969705455508E-2</c:v>
                </c:pt>
                <c:pt idx="4">
                  <c:v>6.8740181063599012E-2</c:v>
                </c:pt>
                <c:pt idx="5">
                  <c:v>2.6237294475988257E-2</c:v>
                </c:pt>
                <c:pt idx="6">
                  <c:v>1.2821323280886886E-2</c:v>
                </c:pt>
                <c:pt idx="7">
                  <c:v>1.0724769328363122E-2</c:v>
                </c:pt>
                <c:pt idx="8">
                  <c:v>3.0710022486369845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C$2:$C$10</c:f>
              <c:numCache>
                <c:formatCode>General</c:formatCode>
                <c:ptCount val="9"/>
                <c:pt idx="0">
                  <c:v>0.43971327698726709</c:v>
                </c:pt>
                <c:pt idx="1">
                  <c:v>8.8905531186476483E-2</c:v>
                </c:pt>
                <c:pt idx="2">
                  <c:v>0.19171926821439936</c:v>
                </c:pt>
                <c:pt idx="3">
                  <c:v>9.5324703113297896E-2</c:v>
                </c:pt>
                <c:pt idx="4">
                  <c:v>0.11254948111693529</c:v>
                </c:pt>
                <c:pt idx="5">
                  <c:v>3.3486680218251672E-2</c:v>
                </c:pt>
                <c:pt idx="6">
                  <c:v>1.7224778003637444E-2</c:v>
                </c:pt>
                <c:pt idx="7">
                  <c:v>1.6903819407296374E-2</c:v>
                </c:pt>
                <c:pt idx="8">
                  <c:v>4.172461752433915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D$2:$D$10</c:f>
              <c:numCache>
                <c:formatCode>General</c:formatCode>
                <c:ptCount val="9"/>
                <c:pt idx="0">
                  <c:v>78.393405979126641</c:v>
                </c:pt>
                <c:pt idx="1">
                  <c:v>61.578027260148779</c:v>
                </c:pt>
                <c:pt idx="2">
                  <c:v>180.65972605888447</c:v>
                </c:pt>
                <c:pt idx="3">
                  <c:v>136.64083326120712</c:v>
                </c:pt>
                <c:pt idx="4">
                  <c:v>163.7317204806364</c:v>
                </c:pt>
                <c:pt idx="5">
                  <c:v>127.63008110038892</c:v>
                </c:pt>
                <c:pt idx="6">
                  <c:v>134.34477570123292</c:v>
                </c:pt>
                <c:pt idx="7">
                  <c:v>157.61475971881194</c:v>
                </c:pt>
                <c:pt idx="8">
                  <c:v>1358.66450579311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082386189050302</c:v>
                </c:pt>
                <c:pt idx="1">
                  <c:v>0.18453803758152043</c:v>
                </c:pt>
                <c:pt idx="2">
                  <c:v>0.15328221133792058</c:v>
                </c:pt>
                <c:pt idx="3">
                  <c:v>0.11808405065965208</c:v>
                </c:pt>
                <c:pt idx="4">
                  <c:v>3.271838530403922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39540797791179255</c:v>
                </c:pt>
                <c:pt idx="1">
                  <c:v>0.27019302962048003</c:v>
                </c:pt>
                <c:pt idx="2">
                  <c:v>0.14088498147206274</c:v>
                </c:pt>
                <c:pt idx="3">
                  <c:v>0.16382087238731868</c:v>
                </c:pt>
                <c:pt idx="4">
                  <c:v>2.969313860834605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73.112154580163136</c:v>
                </c:pt>
                <c:pt idx="1">
                  <c:v>146.41590057070005</c:v>
                </c:pt>
                <c:pt idx="2">
                  <c:v>91.912153564559844</c:v>
                </c:pt>
                <c:pt idx="3">
                  <c:v>138.73242954672313</c:v>
                </c:pt>
                <c:pt idx="4">
                  <c:v>907.5367971988614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8060561431334312</c:v>
                </c:pt>
                <c:pt idx="1">
                  <c:v>0.40033726926049551</c:v>
                </c:pt>
                <c:pt idx="2">
                  <c:v>1.90571164261613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37800687285223367</c:v>
                </c:pt>
                <c:pt idx="1">
                  <c:v>0.5807560137457044</c:v>
                </c:pt>
                <c:pt idx="2">
                  <c:v>4.123711340206185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65.105617915749207</c:v>
                </c:pt>
                <c:pt idx="1">
                  <c:v>145.06668710072361</c:v>
                </c:pt>
                <c:pt idx="2">
                  <c:v>216.386952149025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B$2:$B$5</c:f>
              <c:numCache>
                <c:formatCode>General</c:formatCode>
                <c:ptCount val="4"/>
                <c:pt idx="0">
                  <c:v>0.64685757162682911</c:v>
                </c:pt>
                <c:pt idx="1">
                  <c:v>0.30061391144213834</c:v>
                </c:pt>
                <c:pt idx="2">
                  <c:v>4.4594999991539257E-2</c:v>
                </c:pt>
                <c:pt idx="3">
                  <c:v>7.933516939493366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C$2:$C$5</c:f>
              <c:numCache>
                <c:formatCode>General</c:formatCode>
                <c:ptCount val="4"/>
                <c:pt idx="0">
                  <c:v>0.36050724637681159</c:v>
                </c:pt>
                <c:pt idx="1">
                  <c:v>0.38949275362318836</c:v>
                </c:pt>
                <c:pt idx="2">
                  <c:v>0.14492753623188406</c:v>
                </c:pt>
                <c:pt idx="3">
                  <c:v>0.10507246376811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D$2:$D$5</c:f>
              <c:numCache>
                <c:formatCode>General</c:formatCode>
                <c:ptCount val="4"/>
                <c:pt idx="0">
                  <c:v>55.732090368849775</c:v>
                </c:pt>
                <c:pt idx="1">
                  <c:v>129.56577816198543</c:v>
                </c:pt>
                <c:pt idx="2">
                  <c:v>324.98606628406839</c:v>
                </c:pt>
                <c:pt idx="3">
                  <c:v>1324.41216889650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232810204621629</c:v>
                </c:pt>
                <c:pt idx="1">
                  <c:v>0.17466163350264091</c:v>
                </c:pt>
                <c:pt idx="2">
                  <c:v>0.16328107149783413</c:v>
                </c:pt>
                <c:pt idx="3">
                  <c:v>0.11709290612027616</c:v>
                </c:pt>
                <c:pt idx="4">
                  <c:v>2.636286833032484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39277566539923936</c:v>
                </c:pt>
                <c:pt idx="1">
                  <c:v>0.23384030418250942</c:v>
                </c:pt>
                <c:pt idx="2">
                  <c:v>0.19391634980988587</c:v>
                </c:pt>
                <c:pt idx="3">
                  <c:v>0.15779467680608358</c:v>
                </c:pt>
                <c:pt idx="4">
                  <c:v>2.167300380228136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72.423992766977747</c:v>
                </c:pt>
                <c:pt idx="1">
                  <c:v>133.88189466290186</c:v>
                </c:pt>
                <c:pt idx="2">
                  <c:v>118.76229622394297</c:v>
                </c:pt>
                <c:pt idx="3">
                  <c:v>134.76023615299047</c:v>
                </c:pt>
                <c:pt idx="4">
                  <c:v>822.1034043306739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9178393832722365</c:v>
                </c:pt>
                <c:pt idx="1">
                  <c:v>0.16414064550992524</c:v>
                </c:pt>
                <c:pt idx="2">
                  <c:v>0.13480606533282488</c:v>
                </c:pt>
                <c:pt idx="3">
                  <c:v>0.10662706404701726</c:v>
                </c:pt>
                <c:pt idx="4">
                  <c:v>2.64228678300894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2528451261751626</c:v>
                </c:pt>
                <c:pt idx="1">
                  <c:v>0.25903018307768433</c:v>
                </c:pt>
                <c:pt idx="2">
                  <c:v>0.14200890648193967</c:v>
                </c:pt>
                <c:pt idx="3">
                  <c:v>0.14646214745175659</c:v>
                </c:pt>
                <c:pt idx="4">
                  <c:v>2.721425037110341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71.864828541925988</c:v>
                </c:pt>
                <c:pt idx="1">
                  <c:v>157.80989667304635</c:v>
                </c:pt>
                <c:pt idx="2">
                  <c:v>105.34311355452115</c:v>
                </c:pt>
                <c:pt idx="3">
                  <c:v>137.35926123519076</c:v>
                </c:pt>
                <c:pt idx="4">
                  <c:v>1029.95066796317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3591446079632776</c:v>
                </c:pt>
                <c:pt idx="1">
                  <c:v>0.18718514906711023</c:v>
                </c:pt>
                <c:pt idx="2">
                  <c:v>0.15428671126987742</c:v>
                </c:pt>
                <c:pt idx="3">
                  <c:v>0.11923581654717222</c:v>
                </c:pt>
                <c:pt idx="4">
                  <c:v>3.37786231951242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3932027377861701</c:v>
                </c:pt>
                <c:pt idx="1">
                  <c:v>0.272598536700496</c:v>
                </c:pt>
                <c:pt idx="2">
                  <c:v>0.13854142081661572</c:v>
                </c:pt>
                <c:pt idx="3">
                  <c:v>0.16544725041302832</c:v>
                </c:pt>
                <c:pt idx="4">
                  <c:v>3.02100542836913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73.37042878109709</c:v>
                </c:pt>
                <c:pt idx="1">
                  <c:v>145.63042958219035</c:v>
                </c:pt>
                <c:pt idx="2">
                  <c:v>89.794785096092866</c:v>
                </c:pt>
                <c:pt idx="3">
                  <c:v>138.75633614466327</c:v>
                </c:pt>
                <c:pt idx="4">
                  <c:v>894.354222467302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B$2:$B$10</c:f>
              <c:numCache>
                <c:formatCode>General</c:formatCode>
                <c:ptCount val="9"/>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pt idx="8">
                  <c:v>4.1180360862910076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C$2:$C$10</c:f>
              <c:numCache>
                <c:formatCode>General</c:formatCode>
                <c:ptCount val="9"/>
                <c:pt idx="0">
                  <c:v>0.47816294354921307</c:v>
                </c:pt>
                <c:pt idx="1">
                  <c:v>0.13951964618440177</c:v>
                </c:pt>
                <c:pt idx="2">
                  <c:v>0.12367165584880933</c:v>
                </c:pt>
                <c:pt idx="3">
                  <c:v>6.7220868568152459E-2</c:v>
                </c:pt>
                <c:pt idx="4">
                  <c:v>6.2204385839185874E-2</c:v>
                </c:pt>
                <c:pt idx="5">
                  <c:v>6.0668727860930784E-2</c:v>
                </c:pt>
                <c:pt idx="6">
                  <c:v>3.0876963082782195E-2</c:v>
                </c:pt>
                <c:pt idx="7">
                  <c:v>3.1184094678433208E-2</c:v>
                </c:pt>
                <c:pt idx="8">
                  <c:v>6.4907143880914824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D$2:$D$10</c:f>
              <c:numCache>
                <c:formatCode>General</c:formatCode>
                <c:ptCount val="9"/>
                <c:pt idx="0">
                  <c:v>82.923942278386619</c:v>
                </c:pt>
                <c:pt idx="1">
                  <c:v>66.575999360649575</c:v>
                </c:pt>
                <c:pt idx="2">
                  <c:v>185.29151833655234</c:v>
                </c:pt>
                <c:pt idx="3">
                  <c:v>152.24566796032838</c:v>
                </c:pt>
                <c:pt idx="4">
                  <c:v>160.59849000530221</c:v>
                </c:pt>
                <c:pt idx="5">
                  <c:v>201.63864185868832</c:v>
                </c:pt>
                <c:pt idx="6">
                  <c:v>172.83577902118904</c:v>
                </c:pt>
                <c:pt idx="7">
                  <c:v>197.21162330289965</c:v>
                </c:pt>
                <c:pt idx="8">
                  <c:v>1576.16743809000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Equate</c:v>
                </c:pt>
                <c:pt idx="4">
                  <c:v>Dollar Shave Club</c:v>
                </c:pt>
                <c:pt idx="5">
                  <c:v>Van Der Hagen</c:v>
                </c:pt>
                <c:pt idx="6">
                  <c:v>Cremo</c:v>
                </c:pt>
                <c:pt idx="7">
                  <c:v>Others</c:v>
                </c:pt>
              </c:strCache>
            </c:strRef>
          </c:cat>
          <c:val>
            <c:numRef>
              <c:f>Sheet1!$B$2:$B$9</c:f>
              <c:numCache>
                <c:formatCode>General</c:formatCode>
                <c:ptCount val="8"/>
                <c:pt idx="0">
                  <c:v>0.65871033624482334</c:v>
                </c:pt>
                <c:pt idx="1">
                  <c:v>0.21478330524000885</c:v>
                </c:pt>
                <c:pt idx="2">
                  <c:v>4.1854895900275232E-2</c:v>
                </c:pt>
                <c:pt idx="3">
                  <c:v>3.7673563884695019E-2</c:v>
                </c:pt>
                <c:pt idx="4">
                  <c:v>3.2889977513461635E-2</c:v>
                </c:pt>
                <c:pt idx="5">
                  <c:v>1.3991703065241055E-2</c:v>
                </c:pt>
                <c:pt idx="6">
                  <c:v>9.5188656869837438E-5</c:v>
                </c:pt>
                <c:pt idx="7">
                  <c:v>1.0294946250481586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Equate</c:v>
                </c:pt>
                <c:pt idx="4">
                  <c:v>Dollar Shave Club</c:v>
                </c:pt>
                <c:pt idx="5">
                  <c:v>Van Der Hagen</c:v>
                </c:pt>
                <c:pt idx="6">
                  <c:v>Cremo</c:v>
                </c:pt>
                <c:pt idx="7">
                  <c:v>Others</c:v>
                </c:pt>
              </c:strCache>
            </c:strRef>
          </c:cat>
          <c:val>
            <c:numRef>
              <c:f>Sheet1!$C$2:$C$9</c:f>
              <c:numCache>
                <c:formatCode>General</c:formatCode>
                <c:ptCount val="8"/>
                <c:pt idx="0">
                  <c:v>0.53850541928123197</c:v>
                </c:pt>
                <c:pt idx="1">
                  <c:v>0.15002852253280088</c:v>
                </c:pt>
                <c:pt idx="2">
                  <c:v>6.8454078722190531E-2</c:v>
                </c:pt>
                <c:pt idx="3">
                  <c:v>0.11808328579577868</c:v>
                </c:pt>
                <c:pt idx="4">
                  <c:v>7.5869937250427844E-2</c:v>
                </c:pt>
                <c:pt idx="5">
                  <c:v>4.6206503137478608E-2</c:v>
                </c:pt>
                <c:pt idx="6">
                  <c:v>2.2818026240730175E-3</c:v>
                </c:pt>
                <c:pt idx="7">
                  <c:v>5.7045065601825438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Equate</c:v>
                </c:pt>
                <c:pt idx="4">
                  <c:v>Dollar Shave Club</c:v>
                </c:pt>
                <c:pt idx="5">
                  <c:v>Van Der Hagen</c:v>
                </c:pt>
                <c:pt idx="6">
                  <c:v>Cremo</c:v>
                </c:pt>
                <c:pt idx="7">
                  <c:v>Others</c:v>
                </c:pt>
              </c:strCache>
            </c:strRef>
          </c:cat>
          <c:val>
            <c:numRef>
              <c:f>Sheet1!$D$2:$D$9</c:f>
              <c:numCache>
                <c:formatCode>General</c:formatCode>
                <c:ptCount val="8"/>
                <c:pt idx="0">
                  <c:v>81.751475519747316</c:v>
                </c:pt>
                <c:pt idx="1">
                  <c:v>69.851109873345152</c:v>
                </c:pt>
                <c:pt idx="2">
                  <c:v>163.55094726622025</c:v>
                </c:pt>
                <c:pt idx="3">
                  <c:v>313.4380547515716</c:v>
                </c:pt>
                <c:pt idx="4">
                  <c:v>230.67798456041757</c:v>
                </c:pt>
                <c:pt idx="5">
                  <c:v>330.24216510331257</c:v>
                </c:pt>
                <c:pt idx="6">
                  <c:v>2397.1371160254866</c:v>
                </c:pt>
                <c:pt idx="7">
                  <c:v>55410.7464127429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9345956864738</c:v>
                </c:pt>
                <c:pt idx="1">
                  <c:v>6.540431352672705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0.99439252336448591</c:v>
                </c:pt>
                <c:pt idx="1">
                  <c:v>5.607476635514019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99.439902716306023</c:v>
                </c:pt>
                <c:pt idx="1">
                  <c:v>85735.5781774631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90928863633829238</c:v>
                </c:pt>
                <c:pt idx="1">
                  <c:v>8.9289807892067544E-2</c:v>
                </c:pt>
                <c:pt idx="2">
                  <c:v>1.421555769640087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79849812265331677</c:v>
                </c:pt>
                <c:pt idx="1">
                  <c:v>0.12515644555694622</c:v>
                </c:pt>
                <c:pt idx="2">
                  <c:v>7.634543178973718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87.815693580959149</c:v>
                </c:pt>
                <c:pt idx="1">
                  <c:v>140.16879251015283</c:v>
                </c:pt>
                <c:pt idx="2">
                  <c:v>5370.554811864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Dollar Shave Club</c:v>
                </c:pt>
                <c:pt idx="4">
                  <c:v>Schick</c:v>
                </c:pt>
                <c:pt idx="5">
                  <c:v>Equate</c:v>
                </c:pt>
                <c:pt idx="6">
                  <c:v>Comfort 3</c:v>
                </c:pt>
                <c:pt idx="7">
                  <c:v>Others</c:v>
                </c:pt>
              </c:strCache>
            </c:strRef>
          </c:cat>
          <c:val>
            <c:numRef>
              <c:f>Sheet1!$B$2:$B$9</c:f>
              <c:numCache>
                <c:formatCode>General</c:formatCode>
                <c:ptCount val="8"/>
                <c:pt idx="0">
                  <c:v>0.59012128868399372</c:v>
                </c:pt>
                <c:pt idx="1">
                  <c:v>0.20514442686203471</c:v>
                </c:pt>
                <c:pt idx="2">
                  <c:v>6.2632646200993888E-2</c:v>
                </c:pt>
                <c:pt idx="3">
                  <c:v>4.56218420807529E-2</c:v>
                </c:pt>
                <c:pt idx="4">
                  <c:v>4.141829608641405E-2</c:v>
                </c:pt>
                <c:pt idx="5">
                  <c:v>4.0043314347797926E-2</c:v>
                </c:pt>
                <c:pt idx="6">
                  <c:v>1.3853653151430251E-2</c:v>
                </c:pt>
                <c:pt idx="7">
                  <c:v>1.164532586582598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Dollar Shave Club</c:v>
                </c:pt>
                <c:pt idx="4">
                  <c:v>Schick</c:v>
                </c:pt>
                <c:pt idx="5">
                  <c:v>Equate</c:v>
                </c:pt>
                <c:pt idx="6">
                  <c:v>Comfort 3</c:v>
                </c:pt>
                <c:pt idx="7">
                  <c:v>Others</c:v>
                </c:pt>
              </c:strCache>
            </c:strRef>
          </c:cat>
          <c:val>
            <c:numRef>
              <c:f>Sheet1!$C$2:$C$9</c:f>
              <c:numCache>
                <c:formatCode>General</c:formatCode>
                <c:ptCount val="8"/>
                <c:pt idx="0">
                  <c:v>0.45956192080876113</c:v>
                </c:pt>
                <c:pt idx="1">
                  <c:v>0.16343723673125515</c:v>
                </c:pt>
                <c:pt idx="2">
                  <c:v>0.11794439764111192</c:v>
                </c:pt>
                <c:pt idx="3">
                  <c:v>8.2139848357202963E-2</c:v>
                </c:pt>
                <c:pt idx="4">
                  <c:v>5.2653748946924976E-2</c:v>
                </c:pt>
                <c:pt idx="5">
                  <c:v>8.5509688289806152E-2</c:v>
                </c:pt>
                <c:pt idx="6">
                  <c:v>2.9486099410277987E-2</c:v>
                </c:pt>
                <c:pt idx="7">
                  <c:v>9.267059814658798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Dollar Shave Club</c:v>
                </c:pt>
                <c:pt idx="4">
                  <c:v>Schick</c:v>
                </c:pt>
                <c:pt idx="5">
                  <c:v>Equate</c:v>
                </c:pt>
                <c:pt idx="6">
                  <c:v>Comfort 3</c:v>
                </c:pt>
                <c:pt idx="7">
                  <c:v>Others</c:v>
                </c:pt>
              </c:strCache>
            </c:strRef>
          </c:cat>
          <c:val>
            <c:numRef>
              <c:f>Sheet1!$D$2:$D$9</c:f>
              <c:numCache>
                <c:formatCode>General</c:formatCode>
                <c:ptCount val="8"/>
                <c:pt idx="0">
                  <c:v>77.875841733080335</c:v>
                </c:pt>
                <c:pt idx="1">
                  <c:v>79.669352578206372</c:v>
                </c:pt>
                <c:pt idx="2">
                  <c:v>188.3113756085246</c:v>
                </c:pt>
                <c:pt idx="3">
                  <c:v>180.04500609995404</c:v>
                </c:pt>
                <c:pt idx="4">
                  <c:v>127.12678676367943</c:v>
                </c:pt>
                <c:pt idx="5">
                  <c:v>213.5429838477107</c:v>
                </c:pt>
                <c:pt idx="6">
                  <c:v>212.8398848157523</c:v>
                </c:pt>
                <c:pt idx="7">
                  <c:v>795.775053564935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Comfort 3</c:v>
                </c:pt>
                <c:pt idx="7">
                  <c:v>Van Der Hagen</c:v>
                </c:pt>
                <c:pt idx="8">
                  <c:v>Others</c:v>
                </c:pt>
              </c:strCache>
            </c:strRef>
          </c:cat>
          <c:val>
            <c:numRef>
              <c:f>Sheet1!$B$2:$B$10</c:f>
              <c:numCache>
                <c:formatCode>General</c:formatCode>
                <c:ptCount val="9"/>
                <c:pt idx="0">
                  <c:v>0.6182635657766159</c:v>
                </c:pt>
                <c:pt idx="1">
                  <c:v>0.18722367556157865</c:v>
                </c:pt>
                <c:pt idx="2">
                  <c:v>5.8906404971494332E-2</c:v>
                </c:pt>
                <c:pt idx="3">
                  <c:v>3.8609099767900716E-2</c:v>
                </c:pt>
                <c:pt idx="4">
                  <c:v>3.3453458305565988E-2</c:v>
                </c:pt>
                <c:pt idx="5">
                  <c:v>2.9502036126015829E-2</c:v>
                </c:pt>
                <c:pt idx="6">
                  <c:v>1.7170217377920939E-2</c:v>
                </c:pt>
                <c:pt idx="7">
                  <c:v>1.6700167215949389E-2</c:v>
                </c:pt>
                <c:pt idx="8">
                  <c:v>1.713748969582057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Comfort 3</c:v>
                </c:pt>
                <c:pt idx="7">
                  <c:v>Van Der Hagen</c:v>
                </c:pt>
                <c:pt idx="8">
                  <c:v>Others</c:v>
                </c:pt>
              </c:strCache>
            </c:strRef>
          </c:cat>
          <c:val>
            <c:numRef>
              <c:f>Sheet1!$C$2:$C$10</c:f>
              <c:numCache>
                <c:formatCode>General</c:formatCode>
                <c:ptCount val="9"/>
                <c:pt idx="0">
                  <c:v>0.4852591535901094</c:v>
                </c:pt>
                <c:pt idx="1">
                  <c:v>0.1455064194008559</c:v>
                </c:pt>
                <c:pt idx="2">
                  <c:v>0.11222063718497384</c:v>
                </c:pt>
                <c:pt idx="3">
                  <c:v>5.2306229196386118E-2</c:v>
                </c:pt>
                <c:pt idx="4">
                  <c:v>6.7047075606276735E-2</c:v>
                </c:pt>
                <c:pt idx="5">
                  <c:v>6.6096053257251541E-2</c:v>
                </c:pt>
                <c:pt idx="6">
                  <c:v>3.5901093675701379E-2</c:v>
                </c:pt>
                <c:pt idx="7">
                  <c:v>3.2334759866856869E-2</c:v>
                </c:pt>
                <c:pt idx="8">
                  <c:v>3.3285782215882074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Comfort 3</c:v>
                </c:pt>
                <c:pt idx="7">
                  <c:v>Van Der Hagen</c:v>
                </c:pt>
                <c:pt idx="8">
                  <c:v>Others</c:v>
                </c:pt>
              </c:strCache>
            </c:strRef>
          </c:cat>
          <c:val>
            <c:numRef>
              <c:f>Sheet1!$D$2:$D$10</c:f>
              <c:numCache>
                <c:formatCode>General</c:formatCode>
                <c:ptCount val="9"/>
                <c:pt idx="0">
                  <c:v>78.487425177733641</c:v>
                </c:pt>
                <c:pt idx="1">
                  <c:v>77.717958994453255</c:v>
                </c:pt>
                <c:pt idx="2">
                  <c:v>190.50668130108949</c:v>
                </c:pt>
                <c:pt idx="3">
                  <c:v>135.47642786500057</c:v>
                </c:pt>
                <c:pt idx="4">
                  <c:v>200.41896713297783</c:v>
                </c:pt>
                <c:pt idx="5">
                  <c:v>224.03895437903674</c:v>
                </c:pt>
                <c:pt idx="6">
                  <c:v>209.08933699270656</c:v>
                </c:pt>
                <c:pt idx="7">
                  <c:v>193.61937787051474</c:v>
                </c:pt>
                <c:pt idx="8">
                  <c:v>1942.27875883127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B$2:$B$10</c:f>
              <c:numCache>
                <c:formatCode>General</c:formatCode>
                <c:ptCount val="9"/>
                <c:pt idx="0">
                  <c:v>0.57279520332439515</c:v>
                </c:pt>
                <c:pt idx="1">
                  <c:v>0.21145741906350762</c:v>
                </c:pt>
                <c:pt idx="2">
                  <c:v>6.7557284837587397E-2</c:v>
                </c:pt>
                <c:pt idx="3">
                  <c:v>4.4717781070534597E-2</c:v>
                </c:pt>
                <c:pt idx="4">
                  <c:v>3.8719220420717626E-2</c:v>
                </c:pt>
                <c:pt idx="5">
                  <c:v>2.9552303786982627E-2</c:v>
                </c:pt>
                <c:pt idx="6">
                  <c:v>1.8920839671646029E-2</c:v>
                </c:pt>
                <c:pt idx="7">
                  <c:v>1.5826887485151132E-2</c:v>
                </c:pt>
                <c:pt idx="8">
                  <c:v>4.5306033947779893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C$2:$C$10</c:f>
              <c:numCache>
                <c:formatCode>General</c:formatCode>
                <c:ptCount val="9"/>
                <c:pt idx="0">
                  <c:v>0.47827788649706593</c:v>
                </c:pt>
                <c:pt idx="1">
                  <c:v>0.1383561643835618</c:v>
                </c:pt>
                <c:pt idx="2">
                  <c:v>0.12465753424657547</c:v>
                </c:pt>
                <c:pt idx="3">
                  <c:v>6.8688845401174259E-2</c:v>
                </c:pt>
                <c:pt idx="4">
                  <c:v>6.1252446183953098E-2</c:v>
                </c:pt>
                <c:pt idx="5">
                  <c:v>5.9491193737769142E-2</c:v>
                </c:pt>
                <c:pt idx="6">
                  <c:v>3.150684931506853E-2</c:v>
                </c:pt>
                <c:pt idx="7">
                  <c:v>3.0919765166340547E-2</c:v>
                </c:pt>
                <c:pt idx="8">
                  <c:v>6.849315068493159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D$2:$D$10</c:f>
              <c:numCache>
                <c:formatCode>General</c:formatCode>
                <c:ptCount val="9"/>
                <c:pt idx="0">
                  <c:v>83.498933601613885</c:v>
                </c:pt>
                <c:pt idx="1">
                  <c:v>65.429799056617114</c:v>
                </c:pt>
                <c:pt idx="2">
                  <c:v>184.52123193858546</c:v>
                </c:pt>
                <c:pt idx="3">
                  <c:v>153.60521867762051</c:v>
                </c:pt>
                <c:pt idx="4">
                  <c:v>158.19648618539475</c:v>
                </c:pt>
                <c:pt idx="5">
                  <c:v>201.3081422233287</c:v>
                </c:pt>
                <c:pt idx="6">
                  <c:v>166.51929756734509</c:v>
                </c:pt>
                <c:pt idx="7">
                  <c:v>195.36226055407059</c:v>
                </c:pt>
                <c:pt idx="8">
                  <c:v>1511.788711496516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B$2:$B$8</c:f>
              <c:numCache>
                <c:formatCode>General</c:formatCode>
                <c:ptCount val="7"/>
                <c:pt idx="0">
                  <c:v>0.61709939318599438</c:v>
                </c:pt>
                <c:pt idx="1">
                  <c:v>0.24341488493153948</c:v>
                </c:pt>
                <c:pt idx="2">
                  <c:v>4.6230713935869937E-2</c:v>
                </c:pt>
                <c:pt idx="3">
                  <c:v>4.0291297693214836E-2</c:v>
                </c:pt>
                <c:pt idx="4">
                  <c:v>3.9220718455250554E-2</c:v>
                </c:pt>
                <c:pt idx="5">
                  <c:v>1.3513482367956495E-2</c:v>
                </c:pt>
                <c:pt idx="6">
                  <c:v>2.2950943017434677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C$2:$C$8</c:f>
              <c:numCache>
                <c:formatCode>General</c:formatCode>
                <c:ptCount val="7"/>
                <c:pt idx="0">
                  <c:v>0.53340453938584742</c:v>
                </c:pt>
                <c:pt idx="1">
                  <c:v>0.14371161548731626</c:v>
                </c:pt>
                <c:pt idx="2">
                  <c:v>7.5193591455273628E-2</c:v>
                </c:pt>
                <c:pt idx="3">
                  <c:v>7.7543391188250918E-2</c:v>
                </c:pt>
                <c:pt idx="4">
                  <c:v>0.11567423230974619</c:v>
                </c:pt>
                <c:pt idx="5">
                  <c:v>4.715620827770356E-2</c:v>
                </c:pt>
                <c:pt idx="6">
                  <c:v>7.3164218958611414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D$2:$D$8</c:f>
              <c:numCache>
                <c:formatCode>General</c:formatCode>
                <c:ptCount val="7"/>
                <c:pt idx="0">
                  <c:v>86.437378690644522</c:v>
                </c:pt>
                <c:pt idx="1">
                  <c:v>59.039781206369199</c:v>
                </c:pt>
                <c:pt idx="2">
                  <c:v>162.64856207840583</c:v>
                </c:pt>
                <c:pt idx="3">
                  <c:v>192.45692153844288</c:v>
                </c:pt>
                <c:pt idx="4">
                  <c:v>294.9314466070436</c:v>
                </c:pt>
                <c:pt idx="5">
                  <c:v>348.95674552047018</c:v>
                </c:pt>
                <c:pt idx="6">
                  <c:v>3187.852407765216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9980052238835</c:v>
                </c:pt>
                <c:pt idx="1">
                  <c:v>1.9947761165745713E-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0.99663299663299676</c:v>
                </c:pt>
                <c:pt idx="1">
                  <c:v>3.367003367003367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99.663319543900627</c:v>
                </c:pt>
                <c:pt idx="1">
                  <c:v>1687910.407101316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Equate</c:v>
                </c:pt>
                <c:pt idx="3">
                  <c:v>Dollar Shave Club</c:v>
                </c:pt>
                <c:pt idx="4">
                  <c:v>Schick</c:v>
                </c:pt>
                <c:pt idx="5">
                  <c:v>Others</c:v>
                </c:pt>
              </c:strCache>
            </c:strRef>
          </c:cat>
          <c:val>
            <c:numRef>
              <c:f>Sheet1!$B$2:$B$7</c:f>
              <c:numCache>
                <c:formatCode>General</c:formatCode>
                <c:ptCount val="6"/>
                <c:pt idx="0">
                  <c:v>0.62568502670852777</c:v>
                </c:pt>
                <c:pt idx="1">
                  <c:v>0.24117258792104182</c:v>
                </c:pt>
                <c:pt idx="2">
                  <c:v>4.8878093988261435E-2</c:v>
                </c:pt>
                <c:pt idx="3">
                  <c:v>4.3446221986879467E-2</c:v>
                </c:pt>
                <c:pt idx="4">
                  <c:v>3.9975640468725468E-2</c:v>
                </c:pt>
                <c:pt idx="5">
                  <c:v>8.424289265640474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Equate</c:v>
                </c:pt>
                <c:pt idx="3">
                  <c:v>Dollar Shave Club</c:v>
                </c:pt>
                <c:pt idx="4">
                  <c:v>Schick</c:v>
                </c:pt>
                <c:pt idx="5">
                  <c:v>Others</c:v>
                </c:pt>
              </c:strCache>
            </c:strRef>
          </c:cat>
          <c:val>
            <c:numRef>
              <c:f>Sheet1!$C$2:$C$7</c:f>
              <c:numCache>
                <c:formatCode>General</c:formatCode>
                <c:ptCount val="6"/>
                <c:pt idx="0">
                  <c:v>0.51269990592662285</c:v>
                </c:pt>
                <c:pt idx="1">
                  <c:v>0.19096895578551273</c:v>
                </c:pt>
                <c:pt idx="2">
                  <c:v>0.13922859830667925</c:v>
                </c:pt>
                <c:pt idx="3">
                  <c:v>8.5606773283160895E-2</c:v>
                </c:pt>
                <c:pt idx="4">
                  <c:v>5.6444026340545649E-2</c:v>
                </c:pt>
                <c:pt idx="5">
                  <c:v>1.505174035747883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Equate</c:v>
                </c:pt>
                <c:pt idx="3">
                  <c:v>Dollar Shave Club</c:v>
                </c:pt>
                <c:pt idx="4">
                  <c:v>Schick</c:v>
                </c:pt>
                <c:pt idx="5">
                  <c:v>Others</c:v>
                </c:pt>
              </c:strCache>
            </c:strRef>
          </c:cat>
          <c:val>
            <c:numRef>
              <c:f>Sheet1!$D$2:$D$7</c:f>
              <c:numCache>
                <c:formatCode>General</c:formatCode>
                <c:ptCount val="6"/>
                <c:pt idx="0">
                  <c:v>81.942172825155609</c:v>
                </c:pt>
                <c:pt idx="1">
                  <c:v>79.183524724640193</c:v>
                </c:pt>
                <c:pt idx="2">
                  <c:v>284.84866521210176</c:v>
                </c:pt>
                <c:pt idx="3">
                  <c:v>197.04077677689372</c:v>
                </c:pt>
                <c:pt idx="4">
                  <c:v>141.19605259283853</c:v>
                </c:pt>
                <c:pt idx="5">
                  <c:v>1786.70744591704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Equate</c:v>
                </c:pt>
                <c:pt idx="4">
                  <c:v>Dollar Shave Club</c:v>
                </c:pt>
                <c:pt idx="5">
                  <c:v>Van Der Hagen</c:v>
                </c:pt>
                <c:pt idx="6">
                  <c:v>Others</c:v>
                </c:pt>
              </c:strCache>
            </c:strRef>
          </c:cat>
          <c:val>
            <c:numRef>
              <c:f>Sheet1!$B$2:$B$8</c:f>
              <c:numCache>
                <c:formatCode>General</c:formatCode>
                <c:ptCount val="7"/>
                <c:pt idx="0">
                  <c:v>0.65871033624482334</c:v>
                </c:pt>
                <c:pt idx="1">
                  <c:v>0.21478330524000885</c:v>
                </c:pt>
                <c:pt idx="2">
                  <c:v>4.1854895900275232E-2</c:v>
                </c:pt>
                <c:pt idx="3">
                  <c:v>3.7673563884695019E-2</c:v>
                </c:pt>
                <c:pt idx="4">
                  <c:v>3.2889977513461635E-2</c:v>
                </c:pt>
                <c:pt idx="5">
                  <c:v>1.3991703065241055E-2</c:v>
                </c:pt>
                <c:pt idx="6">
                  <c:v>9.6218151494885599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Equate</c:v>
                </c:pt>
                <c:pt idx="4">
                  <c:v>Dollar Shave Club</c:v>
                </c:pt>
                <c:pt idx="5">
                  <c:v>Van Der Hagen</c:v>
                </c:pt>
                <c:pt idx="6">
                  <c:v>Others</c:v>
                </c:pt>
              </c:strCache>
            </c:strRef>
          </c:cat>
          <c:val>
            <c:numRef>
              <c:f>Sheet1!$C$2:$C$8</c:f>
              <c:numCache>
                <c:formatCode>General</c:formatCode>
                <c:ptCount val="7"/>
                <c:pt idx="0">
                  <c:v>0.53850541928123197</c:v>
                </c:pt>
                <c:pt idx="1">
                  <c:v>0.15002852253280088</c:v>
                </c:pt>
                <c:pt idx="2">
                  <c:v>6.8454078722190531E-2</c:v>
                </c:pt>
                <c:pt idx="3">
                  <c:v>0.11808328579577868</c:v>
                </c:pt>
                <c:pt idx="4">
                  <c:v>7.5869937250427844E-2</c:v>
                </c:pt>
                <c:pt idx="5">
                  <c:v>4.6206503137478608E-2</c:v>
                </c:pt>
                <c:pt idx="6">
                  <c:v>2.852253280091272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Equate</c:v>
                </c:pt>
                <c:pt idx="4">
                  <c:v>Dollar Shave Club</c:v>
                </c:pt>
                <c:pt idx="5">
                  <c:v>Van Der Hagen</c:v>
                </c:pt>
                <c:pt idx="6">
                  <c:v>Others</c:v>
                </c:pt>
              </c:strCache>
            </c:strRef>
          </c:cat>
          <c:val>
            <c:numRef>
              <c:f>Sheet1!$D$2:$D$8</c:f>
              <c:numCache>
                <c:formatCode>General</c:formatCode>
                <c:ptCount val="7"/>
                <c:pt idx="0">
                  <c:v>81.751475519747316</c:v>
                </c:pt>
                <c:pt idx="1">
                  <c:v>69.851109873345152</c:v>
                </c:pt>
                <c:pt idx="2">
                  <c:v>163.55094726622025</c:v>
                </c:pt>
                <c:pt idx="3">
                  <c:v>313.4380547515716</c:v>
                </c:pt>
                <c:pt idx="4">
                  <c:v>230.67798456041757</c:v>
                </c:pt>
                <c:pt idx="5">
                  <c:v>330.24216510331257</c:v>
                </c:pt>
                <c:pt idx="6">
                  <c:v>2964.36091920024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B$2:$B$9</c:f>
              <c:numCache>
                <c:formatCode>General</c:formatCode>
                <c:ptCount val="8"/>
                <c:pt idx="0">
                  <c:v>0.6134744192881163</c:v>
                </c:pt>
                <c:pt idx="1">
                  <c:v>0.24568657206703032</c:v>
                </c:pt>
                <c:pt idx="2">
                  <c:v>4.6936934837158432E-2</c:v>
                </c:pt>
                <c:pt idx="3">
                  <c:v>4.065174855644748E-2</c:v>
                </c:pt>
                <c:pt idx="4">
                  <c:v>3.8749661801431017E-2</c:v>
                </c:pt>
                <c:pt idx="5">
                  <c:v>1.4247753589506092E-2</c:v>
                </c:pt>
                <c:pt idx="6">
                  <c:v>2.4767659074531362E-4</c:v>
                </c:pt>
                <c:pt idx="7">
                  <c:v>5.233269565018312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C$2:$C$9</c:f>
              <c:numCache>
                <c:formatCode>General</c:formatCode>
                <c:ptCount val="8"/>
                <c:pt idx="0">
                  <c:v>0.53381517811047952</c:v>
                </c:pt>
                <c:pt idx="1">
                  <c:v>0.14145585957666487</c:v>
                </c:pt>
                <c:pt idx="2">
                  <c:v>7.6406814661848177E-2</c:v>
                </c:pt>
                <c:pt idx="3">
                  <c:v>7.7439339184305581E-2</c:v>
                </c:pt>
                <c:pt idx="4">
                  <c:v>0.11461022199277225</c:v>
                </c:pt>
                <c:pt idx="5">
                  <c:v>4.8528652555498167E-2</c:v>
                </c:pt>
                <c:pt idx="6">
                  <c:v>3.6138358286009276E-3</c:v>
                </c:pt>
                <c:pt idx="7">
                  <c:v>4.130098089829631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D$2:$D$9</c:f>
              <c:numCache>
                <c:formatCode>General</c:formatCode>
                <c:ptCount val="8"/>
                <c:pt idx="0">
                  <c:v>87.015067185674283</c:v>
                </c:pt>
                <c:pt idx="1">
                  <c:v>57.575739034720897</c:v>
                </c:pt>
                <c:pt idx="2">
                  <c:v>162.78611913396486</c:v>
                </c:pt>
                <c:pt idx="3">
                  <c:v>190.49448531537641</c:v>
                </c:pt>
                <c:pt idx="4">
                  <c:v>295.77089622118899</c:v>
                </c:pt>
                <c:pt idx="5">
                  <c:v>340.60564179914661</c:v>
                </c:pt>
                <c:pt idx="6">
                  <c:v>1459.0946272823348</c:v>
                </c:pt>
                <c:pt idx="7">
                  <c:v>78920.0334230285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B$2:$B$8</c:f>
              <c:numCache>
                <c:formatCode>General</c:formatCode>
                <c:ptCount val="7"/>
                <c:pt idx="0">
                  <c:v>0.6134744192881163</c:v>
                </c:pt>
                <c:pt idx="1">
                  <c:v>0.24568657206703032</c:v>
                </c:pt>
                <c:pt idx="2">
                  <c:v>4.6936934837158432E-2</c:v>
                </c:pt>
                <c:pt idx="3">
                  <c:v>4.065174855644748E-2</c:v>
                </c:pt>
                <c:pt idx="4">
                  <c:v>3.8749661801431017E-2</c:v>
                </c:pt>
                <c:pt idx="5">
                  <c:v>1.4247753589506092E-2</c:v>
                </c:pt>
                <c:pt idx="6">
                  <c:v>2.5290986031033193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C$2:$C$8</c:f>
              <c:numCache>
                <c:formatCode>General</c:formatCode>
                <c:ptCount val="7"/>
                <c:pt idx="0">
                  <c:v>0.53381517811047952</c:v>
                </c:pt>
                <c:pt idx="1">
                  <c:v>0.14145585957666487</c:v>
                </c:pt>
                <c:pt idx="2">
                  <c:v>7.6406814661848177E-2</c:v>
                </c:pt>
                <c:pt idx="3">
                  <c:v>7.7439339184305581E-2</c:v>
                </c:pt>
                <c:pt idx="4">
                  <c:v>0.11461022199277225</c:v>
                </c:pt>
                <c:pt idx="5">
                  <c:v>4.8528652555498167E-2</c:v>
                </c:pt>
                <c:pt idx="6">
                  <c:v>7.7439339184305579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D$2:$D$8</c:f>
              <c:numCache>
                <c:formatCode>General</c:formatCode>
                <c:ptCount val="7"/>
                <c:pt idx="0">
                  <c:v>87.015067185674283</c:v>
                </c:pt>
                <c:pt idx="1">
                  <c:v>57.575739034720897</c:v>
                </c:pt>
                <c:pt idx="2">
                  <c:v>162.78611913396486</c:v>
                </c:pt>
                <c:pt idx="3">
                  <c:v>190.49448531537641</c:v>
                </c:pt>
                <c:pt idx="4">
                  <c:v>295.77089622118899</c:v>
                </c:pt>
                <c:pt idx="5">
                  <c:v>340.60564179914661</c:v>
                </c:pt>
                <c:pt idx="6">
                  <c:v>3061.93436227769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B$2:$B$8</c:f>
              <c:numCache>
                <c:formatCode>General</c:formatCode>
                <c:ptCount val="7"/>
                <c:pt idx="0">
                  <c:v>0.64845903530310278</c:v>
                </c:pt>
                <c:pt idx="1">
                  <c:v>0.20224109939179227</c:v>
                </c:pt>
                <c:pt idx="2">
                  <c:v>5.1430100632834493E-2</c:v>
                </c:pt>
                <c:pt idx="3">
                  <c:v>4.5583978383688155E-2</c:v>
                </c:pt>
                <c:pt idx="4">
                  <c:v>2.9879671567027418E-2</c:v>
                </c:pt>
                <c:pt idx="5">
                  <c:v>2.1574179939746557E-2</c:v>
                </c:pt>
                <c:pt idx="6">
                  <c:v>8.319347818083350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C$2:$C$8</c:f>
              <c:numCache>
                <c:formatCode>General</c:formatCode>
                <c:ptCount val="7"/>
                <c:pt idx="0">
                  <c:v>0.59345005332385314</c:v>
                </c:pt>
                <c:pt idx="1">
                  <c:v>0.18321187344472076</c:v>
                </c:pt>
                <c:pt idx="2">
                  <c:v>8.2074297902595017E-2</c:v>
                </c:pt>
                <c:pt idx="3">
                  <c:v>7.047635975826512E-2</c:v>
                </c:pt>
                <c:pt idx="4">
                  <c:v>2.7772840383931716E-2</c:v>
                </c:pt>
                <c:pt idx="5">
                  <c:v>3.5415926057589725E-2</c:v>
                </c:pt>
                <c:pt idx="6">
                  <c:v>7.598649129043718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D$2:$D$8</c:f>
              <c:numCache>
                <c:formatCode>General</c:formatCode>
                <c:ptCount val="7"/>
                <c:pt idx="0">
                  <c:v>91.51696884699318</c:v>
                </c:pt>
                <c:pt idx="1">
                  <c:v>90.590821547005589</c:v>
                </c:pt>
                <c:pt idx="2">
                  <c:v>159.58416742859018</c:v>
                </c:pt>
                <c:pt idx="3">
                  <c:v>154.60774214363985</c:v>
                </c:pt>
                <c:pt idx="4">
                  <c:v>92.94894798836873</c:v>
                </c:pt>
                <c:pt idx="5">
                  <c:v>164.15885172229528</c:v>
                </c:pt>
                <c:pt idx="6">
                  <c:v>913.3707707864928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743809551962</c:v>
                </c:pt>
                <c:pt idx="1">
                  <c:v>2.561904480376797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0.99578059071729952</c:v>
                </c:pt>
                <c:pt idx="1">
                  <c:v>4.2194092827004216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99.580610231845071</c:v>
                </c:pt>
                <c:pt idx="1">
                  <c:v>16469.8149951314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68107556181751516</c:v>
                </c:pt>
                <c:pt idx="1">
                  <c:v>0.313926510063266</c:v>
                </c:pt>
                <c:pt idx="2">
                  <c:v>4.997928119218840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63738738738738743</c:v>
                </c:pt>
                <c:pt idx="1">
                  <c:v>0.22522522522522526</c:v>
                </c:pt>
                <c:pt idx="2">
                  <c:v>0.137387387387387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93.585414470966825</c:v>
                </c:pt>
                <c:pt idx="1">
                  <c:v>71.744570147909883</c:v>
                </c:pt>
                <c:pt idx="2">
                  <c:v>2748.88682090251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B$2:$B$7</c:f>
              <c:numCache>
                <c:formatCode>General</c:formatCode>
                <c:ptCount val="6"/>
                <c:pt idx="0">
                  <c:v>0.66462879645305817</c:v>
                </c:pt>
                <c:pt idx="1">
                  <c:v>0.18553105912505027</c:v>
                </c:pt>
                <c:pt idx="2">
                  <c:v>6.0854558549794685E-2</c:v>
                </c:pt>
                <c:pt idx="3">
                  <c:v>5.4170930417457838E-2</c:v>
                </c:pt>
                <c:pt idx="4">
                  <c:v>3.2748599276019794E-2</c:v>
                </c:pt>
                <c:pt idx="5">
                  <c:v>2.066056178619199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C$2:$C$7</c:f>
              <c:numCache>
                <c:formatCode>General</c:formatCode>
                <c:ptCount val="6"/>
                <c:pt idx="0">
                  <c:v>0.56830031282586035</c:v>
                </c:pt>
                <c:pt idx="1">
                  <c:v>0.19290928050052147</c:v>
                </c:pt>
                <c:pt idx="2">
                  <c:v>0.10844629822732019</c:v>
                </c:pt>
                <c:pt idx="3">
                  <c:v>6.6736183524504736E-2</c:v>
                </c:pt>
                <c:pt idx="4">
                  <c:v>5.7351407716371254E-2</c:v>
                </c:pt>
                <c:pt idx="5">
                  <c:v>6.256517205422318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D$2:$D$7</c:f>
              <c:numCache>
                <c:formatCode>General</c:formatCode>
                <c:ptCount val="6"/>
                <c:pt idx="0">
                  <c:v>85.506423413900123</c:v>
                </c:pt>
                <c:pt idx="1">
                  <c:v>103.97681197437578</c:v>
                </c:pt>
                <c:pt idx="2">
                  <c:v>178.20571015823444</c:v>
                </c:pt>
                <c:pt idx="3">
                  <c:v>123.19556450335114</c:v>
                </c:pt>
                <c:pt idx="4">
                  <c:v>175.12629237357001</c:v>
                </c:pt>
                <c:pt idx="5">
                  <c:v>302.824156969619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Dollar Shave Club</c:v>
                </c:pt>
                <c:pt idx="3">
                  <c:v>Schick</c:v>
                </c:pt>
                <c:pt idx="4">
                  <c:v>Van Der Hagen</c:v>
                </c:pt>
                <c:pt idx="5">
                  <c:v>Equate</c:v>
                </c:pt>
                <c:pt idx="6">
                  <c:v>Others</c:v>
                </c:pt>
              </c:strCache>
            </c:strRef>
          </c:cat>
          <c:val>
            <c:numRef>
              <c:f>Sheet1!$B$2:$B$8</c:f>
              <c:numCache>
                <c:formatCode>General</c:formatCode>
                <c:ptCount val="7"/>
                <c:pt idx="0">
                  <c:v>0.68783737576687554</c:v>
                </c:pt>
                <c:pt idx="1">
                  <c:v>0.18097371641078247</c:v>
                </c:pt>
                <c:pt idx="2">
                  <c:v>4.2128204910829088E-2</c:v>
                </c:pt>
                <c:pt idx="3">
                  <c:v>4.1668856730277419E-2</c:v>
                </c:pt>
                <c:pt idx="4">
                  <c:v>2.5361219201347384E-2</c:v>
                </c:pt>
                <c:pt idx="5">
                  <c:v>2.1685868579228024E-2</c:v>
                </c:pt>
                <c:pt idx="6">
                  <c:v>3.447584006601276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Dollar Shave Club</c:v>
                </c:pt>
                <c:pt idx="3">
                  <c:v>Schick</c:v>
                </c:pt>
                <c:pt idx="4">
                  <c:v>Van Der Hagen</c:v>
                </c:pt>
                <c:pt idx="5">
                  <c:v>Equate</c:v>
                </c:pt>
                <c:pt idx="6">
                  <c:v>Others</c:v>
                </c:pt>
              </c:strCache>
            </c:strRef>
          </c:cat>
          <c:val>
            <c:numRef>
              <c:f>Sheet1!$C$2:$C$8</c:f>
              <c:numCache>
                <c:formatCode>General</c:formatCode>
                <c:ptCount val="7"/>
                <c:pt idx="0">
                  <c:v>0.59956236323851186</c:v>
                </c:pt>
                <c:pt idx="1">
                  <c:v>0.19091903719912465</c:v>
                </c:pt>
                <c:pt idx="2">
                  <c:v>8.1509846827133456E-2</c:v>
                </c:pt>
                <c:pt idx="3">
                  <c:v>5.4157549234135655E-2</c:v>
                </c:pt>
                <c:pt idx="4">
                  <c:v>3.0087527352297586E-2</c:v>
                </c:pt>
                <c:pt idx="5">
                  <c:v>3.8840262582056882E-2</c:v>
                </c:pt>
                <c:pt idx="6">
                  <c:v>4.9234135667396046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Dollar Shave Club</c:v>
                </c:pt>
                <c:pt idx="3">
                  <c:v>Schick</c:v>
                </c:pt>
                <c:pt idx="4">
                  <c:v>Van Der Hagen</c:v>
                </c:pt>
                <c:pt idx="5">
                  <c:v>Equate</c:v>
                </c:pt>
                <c:pt idx="6">
                  <c:v>Others</c:v>
                </c:pt>
              </c:strCache>
            </c:strRef>
          </c:cat>
          <c:val>
            <c:numRef>
              <c:f>Sheet1!$D$2:$D$8</c:f>
              <c:numCache>
                <c:formatCode>General</c:formatCode>
                <c:ptCount val="7"/>
                <c:pt idx="0">
                  <c:v>87.166296040550989</c:v>
                </c:pt>
                <c:pt idx="1">
                  <c:v>105.49545038118563</c:v>
                </c:pt>
                <c:pt idx="2">
                  <c:v>193.48046516499281</c:v>
                </c:pt>
                <c:pt idx="3">
                  <c:v>129.97128667267634</c:v>
                </c:pt>
                <c:pt idx="4">
                  <c:v>118.63596585569161</c:v>
                </c:pt>
                <c:pt idx="5">
                  <c:v>179.10402085190321</c:v>
                </c:pt>
                <c:pt idx="6">
                  <c:v>1428.07646088172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B$2:$B$8</c:f>
              <c:numCache>
                <c:formatCode>General</c:formatCode>
                <c:ptCount val="7"/>
                <c:pt idx="0">
                  <c:v>0.64471932029990753</c:v>
                </c:pt>
                <c:pt idx="1">
                  <c:v>0.20469757345628167</c:v>
                </c:pt>
                <c:pt idx="2">
                  <c:v>5.1987613451472806E-2</c:v>
                </c:pt>
                <c:pt idx="3">
                  <c:v>4.4998435929086082E-2</c:v>
                </c:pt>
                <c:pt idx="4">
                  <c:v>3.1729960754940188E-2</c:v>
                </c:pt>
                <c:pt idx="5">
                  <c:v>2.095429977545837E-2</c:v>
                </c:pt>
                <c:pt idx="6">
                  <c:v>9.1279633285338169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C$2:$C$8</c:f>
              <c:numCache>
                <c:formatCode>General</c:formatCode>
                <c:ptCount val="7"/>
                <c:pt idx="0">
                  <c:v>0.59376316898440662</c:v>
                </c:pt>
                <c:pt idx="1">
                  <c:v>0.18246944795617323</c:v>
                </c:pt>
                <c:pt idx="2">
                  <c:v>8.4281500210703575E-2</c:v>
                </c:pt>
                <c:pt idx="3">
                  <c:v>6.8689422671723413E-2</c:v>
                </c:pt>
                <c:pt idx="4">
                  <c:v>2.82343025705857E-2</c:v>
                </c:pt>
                <c:pt idx="5">
                  <c:v>3.4555415086388465E-2</c:v>
                </c:pt>
                <c:pt idx="6">
                  <c:v>8.006742520016839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D$2:$D$8</c:f>
              <c:numCache>
                <c:formatCode>General</c:formatCode>
                <c:ptCount val="7"/>
                <c:pt idx="0">
                  <c:v>92.096382144745192</c:v>
                </c:pt>
                <c:pt idx="1">
                  <c:v>89.140992184328056</c:v>
                </c:pt>
                <c:pt idx="2">
                  <c:v>162.11842516943983</c:v>
                </c:pt>
                <c:pt idx="3">
                  <c:v>152.64846711555137</c:v>
                </c:pt>
                <c:pt idx="4">
                  <c:v>88.983099565257945</c:v>
                </c:pt>
                <c:pt idx="5">
                  <c:v>164.90846965384972</c:v>
                </c:pt>
                <c:pt idx="6">
                  <c:v>877.1663767521868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B$2:$B$9</c:f>
              <c:numCache>
                <c:formatCode>General</c:formatCode>
                <c:ptCount val="8"/>
                <c:pt idx="0">
                  <c:v>0.64845903530310278</c:v>
                </c:pt>
                <c:pt idx="1">
                  <c:v>0.20224109939179227</c:v>
                </c:pt>
                <c:pt idx="2">
                  <c:v>5.1430100632834493E-2</c:v>
                </c:pt>
                <c:pt idx="3">
                  <c:v>4.5583978383688155E-2</c:v>
                </c:pt>
                <c:pt idx="4">
                  <c:v>2.9879671567027418E-2</c:v>
                </c:pt>
                <c:pt idx="5">
                  <c:v>2.1574179939746557E-2</c:v>
                </c:pt>
                <c:pt idx="6">
                  <c:v>8.1495299780187202E-4</c:v>
                </c:pt>
                <c:pt idx="7">
                  <c:v>1.6981784006463146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C$2:$C$9</c:f>
              <c:numCache>
                <c:formatCode>General</c:formatCode>
                <c:ptCount val="8"/>
                <c:pt idx="0">
                  <c:v>0.59345005332385314</c:v>
                </c:pt>
                <c:pt idx="1">
                  <c:v>0.18321187344472076</c:v>
                </c:pt>
                <c:pt idx="2">
                  <c:v>8.2074297902595017E-2</c:v>
                </c:pt>
                <c:pt idx="3">
                  <c:v>7.047635975826512E-2</c:v>
                </c:pt>
                <c:pt idx="4">
                  <c:v>2.7772840383931716E-2</c:v>
                </c:pt>
                <c:pt idx="5">
                  <c:v>3.5415926057589725E-2</c:v>
                </c:pt>
                <c:pt idx="6">
                  <c:v>5.9989335229292517E-3</c:v>
                </c:pt>
                <c:pt idx="7">
                  <c:v>1.5997156061144668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D$2:$D$9</c:f>
              <c:numCache>
                <c:formatCode>General</c:formatCode>
                <c:ptCount val="8"/>
                <c:pt idx="0">
                  <c:v>91.51696884699318</c:v>
                </c:pt>
                <c:pt idx="1">
                  <c:v>90.590821547005589</c:v>
                </c:pt>
                <c:pt idx="2">
                  <c:v>159.58416742859018</c:v>
                </c:pt>
                <c:pt idx="3">
                  <c:v>154.60774214363985</c:v>
                </c:pt>
                <c:pt idx="4">
                  <c:v>92.94894798836873</c:v>
                </c:pt>
                <c:pt idx="5">
                  <c:v>164.15885172229528</c:v>
                </c:pt>
                <c:pt idx="6">
                  <c:v>736.10791531656992</c:v>
                </c:pt>
                <c:pt idx="7">
                  <c:v>9420.18580324438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Cremo</c:v>
                </c:pt>
              </c:strCache>
            </c:strRef>
          </c:cat>
          <c:val>
            <c:numRef>
              <c:f>Sheet1!$B$2:$B$3</c:f>
              <c:numCache>
                <c:formatCode>General</c:formatCode>
                <c:ptCount val="2"/>
                <c:pt idx="0">
                  <c:v>0.9999743809551962</c:v>
                </c:pt>
                <c:pt idx="1">
                  <c:v>2.561904480376797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Cremo</c:v>
                </c:pt>
              </c:strCache>
            </c:strRef>
          </c:cat>
          <c:val>
            <c:numRef>
              <c:f>Sheet1!$C$2:$C$3</c:f>
              <c:numCache>
                <c:formatCode>General</c:formatCode>
                <c:ptCount val="2"/>
                <c:pt idx="0">
                  <c:v>0.99578059071729952</c:v>
                </c:pt>
                <c:pt idx="1">
                  <c:v>4.2194092827004216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Cremo</c:v>
                </c:pt>
              </c:strCache>
            </c:strRef>
          </c:cat>
          <c:val>
            <c:numRef>
              <c:f>Sheet1!$D$2:$D$3</c:f>
              <c:numCache>
                <c:formatCode>General</c:formatCode>
                <c:ptCount val="2"/>
                <c:pt idx="0">
                  <c:v>99.580610231845071</c:v>
                </c:pt>
                <c:pt idx="1">
                  <c:v>16469.8149951314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68107556181751516</c:v>
                </c:pt>
                <c:pt idx="1">
                  <c:v>0.313926510063266</c:v>
                </c:pt>
                <c:pt idx="2">
                  <c:v>4.997928119218840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63738738738738743</c:v>
                </c:pt>
                <c:pt idx="1">
                  <c:v>0.22522522522522526</c:v>
                </c:pt>
                <c:pt idx="2">
                  <c:v>0.137387387387387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93.585414470966825</c:v>
                </c:pt>
                <c:pt idx="1">
                  <c:v>71.744570147909883</c:v>
                </c:pt>
                <c:pt idx="2">
                  <c:v>2748.88682090251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B$2:$B$7</c:f>
              <c:numCache>
                <c:formatCode>General</c:formatCode>
                <c:ptCount val="6"/>
                <c:pt idx="0">
                  <c:v>0.66462879645305817</c:v>
                </c:pt>
                <c:pt idx="1">
                  <c:v>0.18553105912505027</c:v>
                </c:pt>
                <c:pt idx="2">
                  <c:v>6.0854558549794685E-2</c:v>
                </c:pt>
                <c:pt idx="3">
                  <c:v>5.4170930417457838E-2</c:v>
                </c:pt>
                <c:pt idx="4">
                  <c:v>3.2748599276019794E-2</c:v>
                </c:pt>
                <c:pt idx="5">
                  <c:v>2.066056178619199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C$2:$C$7</c:f>
              <c:numCache>
                <c:formatCode>General</c:formatCode>
                <c:ptCount val="6"/>
                <c:pt idx="0">
                  <c:v>0.56830031282586035</c:v>
                </c:pt>
                <c:pt idx="1">
                  <c:v>0.19290928050052147</c:v>
                </c:pt>
                <c:pt idx="2">
                  <c:v>0.10844629822732019</c:v>
                </c:pt>
                <c:pt idx="3">
                  <c:v>6.6736183524504736E-2</c:v>
                </c:pt>
                <c:pt idx="4">
                  <c:v>5.7351407716371254E-2</c:v>
                </c:pt>
                <c:pt idx="5">
                  <c:v>6.256517205422318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D$2:$D$7</c:f>
              <c:numCache>
                <c:formatCode>General</c:formatCode>
                <c:ptCount val="6"/>
                <c:pt idx="0">
                  <c:v>85.506423413900123</c:v>
                </c:pt>
                <c:pt idx="1">
                  <c:v>103.97681197437578</c:v>
                </c:pt>
                <c:pt idx="2">
                  <c:v>178.20571015823444</c:v>
                </c:pt>
                <c:pt idx="3">
                  <c:v>123.19556450335114</c:v>
                </c:pt>
                <c:pt idx="4">
                  <c:v>175.12629237357001</c:v>
                </c:pt>
                <c:pt idx="5">
                  <c:v>302.824156969619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Dollar Shave Club</c:v>
                </c:pt>
                <c:pt idx="3">
                  <c:v>Schick</c:v>
                </c:pt>
                <c:pt idx="4">
                  <c:v>Van Der Hagen</c:v>
                </c:pt>
                <c:pt idx="5">
                  <c:v>Equate</c:v>
                </c:pt>
                <c:pt idx="6">
                  <c:v>Cremo</c:v>
                </c:pt>
                <c:pt idx="7">
                  <c:v>Others</c:v>
                </c:pt>
              </c:strCache>
            </c:strRef>
          </c:cat>
          <c:val>
            <c:numRef>
              <c:f>Sheet1!$B$2:$B$9</c:f>
              <c:numCache>
                <c:formatCode>General</c:formatCode>
                <c:ptCount val="8"/>
                <c:pt idx="0">
                  <c:v>0.68783737576687554</c:v>
                </c:pt>
                <c:pt idx="1">
                  <c:v>0.18097371641078247</c:v>
                </c:pt>
                <c:pt idx="2">
                  <c:v>4.2128204910829088E-2</c:v>
                </c:pt>
                <c:pt idx="3">
                  <c:v>4.1668856730277419E-2</c:v>
                </c:pt>
                <c:pt idx="4">
                  <c:v>2.5361219201347384E-2</c:v>
                </c:pt>
                <c:pt idx="5">
                  <c:v>2.1685868579228024E-2</c:v>
                </c:pt>
                <c:pt idx="6">
                  <c:v>3.4150862885062638E-4</c:v>
                </c:pt>
                <c:pt idx="7">
                  <c:v>3.249771809501202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Dollar Shave Club</c:v>
                </c:pt>
                <c:pt idx="3">
                  <c:v>Schick</c:v>
                </c:pt>
                <c:pt idx="4">
                  <c:v>Van Der Hagen</c:v>
                </c:pt>
                <c:pt idx="5">
                  <c:v>Equate</c:v>
                </c:pt>
                <c:pt idx="6">
                  <c:v>Cremo</c:v>
                </c:pt>
                <c:pt idx="7">
                  <c:v>Others</c:v>
                </c:pt>
              </c:strCache>
            </c:strRef>
          </c:cat>
          <c:val>
            <c:numRef>
              <c:f>Sheet1!$C$2:$C$9</c:f>
              <c:numCache>
                <c:formatCode>General</c:formatCode>
                <c:ptCount val="8"/>
                <c:pt idx="0">
                  <c:v>0.59956236323851186</c:v>
                </c:pt>
                <c:pt idx="1">
                  <c:v>0.19091903719912465</c:v>
                </c:pt>
                <c:pt idx="2">
                  <c:v>8.1509846827133456E-2</c:v>
                </c:pt>
                <c:pt idx="3">
                  <c:v>5.4157549234135655E-2</c:v>
                </c:pt>
                <c:pt idx="4">
                  <c:v>3.0087527352297586E-2</c:v>
                </c:pt>
                <c:pt idx="5">
                  <c:v>3.8840262582056882E-2</c:v>
                </c:pt>
                <c:pt idx="6">
                  <c:v>3.8293216630196931E-3</c:v>
                </c:pt>
                <c:pt idx="7">
                  <c:v>1.094091903719912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Dollar Shave Club</c:v>
                </c:pt>
                <c:pt idx="3">
                  <c:v>Schick</c:v>
                </c:pt>
                <c:pt idx="4">
                  <c:v>Van Der Hagen</c:v>
                </c:pt>
                <c:pt idx="5">
                  <c:v>Equate</c:v>
                </c:pt>
                <c:pt idx="6">
                  <c:v>Cremo</c:v>
                </c:pt>
                <c:pt idx="7">
                  <c:v>Others</c:v>
                </c:pt>
              </c:strCache>
            </c:strRef>
          </c:cat>
          <c:val>
            <c:numRef>
              <c:f>Sheet1!$D$2:$D$9</c:f>
              <c:numCache>
                <c:formatCode>General</c:formatCode>
                <c:ptCount val="8"/>
                <c:pt idx="0">
                  <c:v>87.166296040550989</c:v>
                </c:pt>
                <c:pt idx="1">
                  <c:v>105.49545038118563</c:v>
                </c:pt>
                <c:pt idx="2">
                  <c:v>193.48046516499281</c:v>
                </c:pt>
                <c:pt idx="3">
                  <c:v>129.97128667267634</c:v>
                </c:pt>
                <c:pt idx="4">
                  <c:v>118.63596585569161</c:v>
                </c:pt>
                <c:pt idx="5">
                  <c:v>179.10402085190321</c:v>
                </c:pt>
                <c:pt idx="6">
                  <c:v>1121.2957271116607</c:v>
                </c:pt>
                <c:pt idx="7">
                  <c:v>33666.73009228426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B$2:$B$6</c:f>
              <c:numCache>
                <c:formatCode>General</c:formatCode>
                <c:ptCount val="5"/>
                <c:pt idx="0">
                  <c:v>0.8391616314870245</c:v>
                </c:pt>
                <c:pt idx="1">
                  <c:v>8.0330250724088836E-2</c:v>
                </c:pt>
                <c:pt idx="2">
                  <c:v>6.5429725633512126E-2</c:v>
                </c:pt>
                <c:pt idx="3">
                  <c:v>1.1916705761139099E-2</c:v>
                </c:pt>
                <c:pt idx="4">
                  <c:v>3.16168639423538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C$2:$C$6</c:f>
              <c:numCache>
                <c:formatCode>General</c:formatCode>
                <c:ptCount val="5"/>
                <c:pt idx="0">
                  <c:v>0.61954108068097713</c:v>
                </c:pt>
                <c:pt idx="1">
                  <c:v>0.15914137675795706</c:v>
                </c:pt>
                <c:pt idx="2">
                  <c:v>7.4019245003700967E-2</c:v>
                </c:pt>
                <c:pt idx="3">
                  <c:v>5.9215396002960774E-2</c:v>
                </c:pt>
                <c:pt idx="4">
                  <c:v>8.808290155440413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D$2:$D$6</c:f>
              <c:numCache>
                <c:formatCode>General</c:formatCode>
                <c:ptCount val="5"/>
                <c:pt idx="0">
                  <c:v>73.82857573970918</c:v>
                </c:pt>
                <c:pt idx="1">
                  <c:v>198.10890084802753</c:v>
                </c:pt>
                <c:pt idx="2">
                  <c:v>113.12785478927549</c:v>
                </c:pt>
                <c:pt idx="3">
                  <c:v>496.91078381799764</c:v>
                </c:pt>
                <c:pt idx="4">
                  <c:v>2785.946819868129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B$2:$B$9</c:f>
              <c:numCache>
                <c:formatCode>General</c:formatCode>
                <c:ptCount val="8"/>
                <c:pt idx="0">
                  <c:v>0.64471932029990753</c:v>
                </c:pt>
                <c:pt idx="1">
                  <c:v>0.20469757345628167</c:v>
                </c:pt>
                <c:pt idx="2">
                  <c:v>5.1987613451472806E-2</c:v>
                </c:pt>
                <c:pt idx="3">
                  <c:v>4.4998435929086082E-2</c:v>
                </c:pt>
                <c:pt idx="4">
                  <c:v>3.1729960754940188E-2</c:v>
                </c:pt>
                <c:pt idx="5">
                  <c:v>2.095429977545837E-2</c:v>
                </c:pt>
                <c:pt idx="6">
                  <c:v>8.9388941839401879E-4</c:v>
                </c:pt>
                <c:pt idx="7">
                  <c:v>1.8906914459362927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C$2:$C$9</c:f>
              <c:numCache>
                <c:formatCode>General</c:formatCode>
                <c:ptCount val="8"/>
                <c:pt idx="0">
                  <c:v>0.59376316898440662</c:v>
                </c:pt>
                <c:pt idx="1">
                  <c:v>0.18246944795617323</c:v>
                </c:pt>
                <c:pt idx="2">
                  <c:v>8.4281500210703575E-2</c:v>
                </c:pt>
                <c:pt idx="3">
                  <c:v>6.8689422671723413E-2</c:v>
                </c:pt>
                <c:pt idx="4">
                  <c:v>2.82343025705857E-2</c:v>
                </c:pt>
                <c:pt idx="5">
                  <c:v>3.4555415086388465E-2</c:v>
                </c:pt>
                <c:pt idx="6">
                  <c:v>6.3211125158027688E-3</c:v>
                </c:pt>
                <c:pt idx="7">
                  <c:v>1.6856300042140714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D$2:$D$9</c:f>
              <c:numCache>
                <c:formatCode>General</c:formatCode>
                <c:ptCount val="8"/>
                <c:pt idx="0">
                  <c:v>92.096382144745192</c:v>
                </c:pt>
                <c:pt idx="1">
                  <c:v>89.140992184328056</c:v>
                </c:pt>
                <c:pt idx="2">
                  <c:v>162.11842516943983</c:v>
                </c:pt>
                <c:pt idx="3">
                  <c:v>152.64846711555137</c:v>
                </c:pt>
                <c:pt idx="4">
                  <c:v>88.983099565257945</c:v>
                </c:pt>
                <c:pt idx="5">
                  <c:v>164.90846965384972</c:v>
                </c:pt>
                <c:pt idx="6">
                  <c:v>707.14703471481039</c:v>
                </c:pt>
                <c:pt idx="7">
                  <c:v>8915.41561600141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B$2:$B$9</c:f>
              <c:numCache>
                <c:formatCode>General</c:formatCode>
                <c:ptCount val="8"/>
                <c:pt idx="0">
                  <c:v>0.56483715779090438</c:v>
                </c:pt>
                <c:pt idx="1">
                  <c:v>0.1416278236977879</c:v>
                </c:pt>
                <c:pt idx="2">
                  <c:v>0.11614144929913373</c:v>
                </c:pt>
                <c:pt idx="3">
                  <c:v>7.0658408200401479E-2</c:v>
                </c:pt>
                <c:pt idx="4">
                  <c:v>6.8770727729878953E-2</c:v>
                </c:pt>
                <c:pt idx="5">
                  <c:v>2.5977551047012572E-2</c:v>
                </c:pt>
                <c:pt idx="6">
                  <c:v>1.198161606558552E-2</c:v>
                </c:pt>
                <c:pt idx="7">
                  <c:v>4.6819440972454934E-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C$2:$C$9</c:f>
              <c:numCache>
                <c:formatCode>General</c:formatCode>
                <c:ptCount val="8"/>
                <c:pt idx="0">
                  <c:v>0.44035150008876245</c:v>
                </c:pt>
                <c:pt idx="1">
                  <c:v>8.8807030001775158E-2</c:v>
                </c:pt>
                <c:pt idx="2">
                  <c:v>0.20769350257411665</c:v>
                </c:pt>
                <c:pt idx="3">
                  <c:v>9.7616722883010709E-2</c:v>
                </c:pt>
                <c:pt idx="4">
                  <c:v>0.11418205219243734</c:v>
                </c:pt>
                <c:pt idx="5">
                  <c:v>3.3907331794780712E-2</c:v>
                </c:pt>
                <c:pt idx="6">
                  <c:v>1.6731759275696766E-2</c:v>
                </c:pt>
                <c:pt idx="7">
                  <c:v>2.9957393928634789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D$2:$D$9</c:f>
              <c:numCache>
                <c:formatCode>General</c:formatCode>
                <c:ptCount val="8"/>
                <c:pt idx="0">
                  <c:v>77.960788169636501</c:v>
                </c:pt>
                <c:pt idx="1">
                  <c:v>62.704507972441746</c:v>
                </c:pt>
                <c:pt idx="2">
                  <c:v>178.8280616674428</c:v>
                </c:pt>
                <c:pt idx="3">
                  <c:v>138.15301726887196</c:v>
                </c:pt>
                <c:pt idx="4">
                  <c:v>166.03292703390781</c:v>
                </c:pt>
                <c:pt idx="5">
                  <c:v>130.52551309943462</c:v>
                </c:pt>
                <c:pt idx="6">
                  <c:v>139.64526307728184</c:v>
                </c:pt>
                <c:pt idx="7">
                  <c:v>639849.4579689553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Others</c:v>
                </c:pt>
              </c:strCache>
            </c:strRef>
          </c:cat>
          <c:val>
            <c:numRef>
              <c:f>Sheet1!$B$2:$B$4</c:f>
              <c:numCache>
                <c:formatCode>General</c:formatCode>
                <c:ptCount val="3"/>
                <c:pt idx="0">
                  <c:v>0.89179053563435384</c:v>
                </c:pt>
                <c:pt idx="1">
                  <c:v>0.10329115673335629</c:v>
                </c:pt>
                <c:pt idx="2">
                  <c:v>4.918185474731092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Others</c:v>
                </c:pt>
              </c:strCache>
            </c:strRef>
          </c:cat>
          <c:val>
            <c:numRef>
              <c:f>Sheet1!$C$2:$C$4</c:f>
              <c:numCache>
                <c:formatCode>General</c:formatCode>
                <c:ptCount val="3"/>
                <c:pt idx="0">
                  <c:v>0.77723970944309939</c:v>
                </c:pt>
                <c:pt idx="1">
                  <c:v>0.20581113801452788</c:v>
                </c:pt>
                <c:pt idx="2">
                  <c:v>1.573849878934625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Others</c:v>
                </c:pt>
              </c:strCache>
            </c:strRef>
          </c:cat>
          <c:val>
            <c:numRef>
              <c:f>Sheet1!$D$2:$D$4</c:f>
              <c:numCache>
                <c:formatCode>General</c:formatCode>
                <c:ptCount val="3"/>
                <c:pt idx="0">
                  <c:v>87.1549627839713</c:v>
                </c:pt>
                <c:pt idx="1">
                  <c:v>199.25339644111503</c:v>
                </c:pt>
                <c:pt idx="2">
                  <c:v>320.0062069681658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Edgewell Personal Care</c:v>
                </c:pt>
                <c:pt idx="2">
                  <c:v>Harrys</c:v>
                </c:pt>
                <c:pt idx="3">
                  <c:v>Bic</c:v>
                </c:pt>
                <c:pt idx="4">
                  <c:v>Others</c:v>
                </c:pt>
              </c:strCache>
            </c:strRef>
          </c:cat>
          <c:val>
            <c:numRef>
              <c:f>Sheet1!$B$2:$B$6</c:f>
              <c:numCache>
                <c:formatCode>General</c:formatCode>
                <c:ptCount val="5"/>
                <c:pt idx="0">
                  <c:v>0.8391616314870245</c:v>
                </c:pt>
                <c:pt idx="1">
                  <c:v>8.0330250724088836E-2</c:v>
                </c:pt>
                <c:pt idx="2">
                  <c:v>6.5429725633512126E-2</c:v>
                </c:pt>
                <c:pt idx="3">
                  <c:v>1.1916705761139099E-2</c:v>
                </c:pt>
                <c:pt idx="4">
                  <c:v>3.16168639423538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Edgewell Personal Care</c:v>
                </c:pt>
                <c:pt idx="2">
                  <c:v>Harrys</c:v>
                </c:pt>
                <c:pt idx="3">
                  <c:v>Bic</c:v>
                </c:pt>
                <c:pt idx="4">
                  <c:v>Others</c:v>
                </c:pt>
              </c:strCache>
            </c:strRef>
          </c:cat>
          <c:val>
            <c:numRef>
              <c:f>Sheet1!$C$2:$C$6</c:f>
              <c:numCache>
                <c:formatCode>General</c:formatCode>
                <c:ptCount val="5"/>
                <c:pt idx="0">
                  <c:v>0.61954108068097713</c:v>
                </c:pt>
                <c:pt idx="1">
                  <c:v>0.15914137675795706</c:v>
                </c:pt>
                <c:pt idx="2">
                  <c:v>7.4019245003700967E-2</c:v>
                </c:pt>
                <c:pt idx="3">
                  <c:v>5.9215396002960774E-2</c:v>
                </c:pt>
                <c:pt idx="4">
                  <c:v>8.808290155440413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Edgewell Personal Care</c:v>
                </c:pt>
                <c:pt idx="2">
                  <c:v>Harrys</c:v>
                </c:pt>
                <c:pt idx="3">
                  <c:v>Bic</c:v>
                </c:pt>
                <c:pt idx="4">
                  <c:v>Others</c:v>
                </c:pt>
              </c:strCache>
            </c:strRef>
          </c:cat>
          <c:val>
            <c:numRef>
              <c:f>Sheet1!$D$2:$D$6</c:f>
              <c:numCache>
                <c:formatCode>General</c:formatCode>
                <c:ptCount val="5"/>
                <c:pt idx="0">
                  <c:v>73.82857573970918</c:v>
                </c:pt>
                <c:pt idx="1">
                  <c:v>198.10890084802753</c:v>
                </c:pt>
                <c:pt idx="2">
                  <c:v>113.12785478927549</c:v>
                </c:pt>
                <c:pt idx="3">
                  <c:v>496.91078381799764</c:v>
                </c:pt>
                <c:pt idx="4">
                  <c:v>2785.946819868129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Others</c:v>
                </c:pt>
              </c:strCache>
            </c:strRef>
          </c:cat>
          <c:val>
            <c:numRef>
              <c:f>Sheet1!$B$2:$B$8</c:f>
              <c:numCache>
                <c:formatCode>General</c:formatCode>
                <c:ptCount val="7"/>
                <c:pt idx="0">
                  <c:v>0.57215875792109039</c:v>
                </c:pt>
                <c:pt idx="1">
                  <c:v>0.12903402387555485</c:v>
                </c:pt>
                <c:pt idx="2">
                  <c:v>0.11338439265590908</c:v>
                </c:pt>
                <c:pt idx="3">
                  <c:v>8.6360836984151618E-2</c:v>
                </c:pt>
                <c:pt idx="4">
                  <c:v>6.9862254030851598E-2</c:v>
                </c:pt>
                <c:pt idx="5">
                  <c:v>2.8475386707381922E-2</c:v>
                </c:pt>
                <c:pt idx="6">
                  <c:v>7.238682955129609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Others</c:v>
                </c:pt>
              </c:strCache>
            </c:strRef>
          </c:cat>
          <c:val>
            <c:numRef>
              <c:f>Sheet1!$C$2:$C$8</c:f>
              <c:numCache>
                <c:formatCode>General</c:formatCode>
                <c:ptCount val="7"/>
                <c:pt idx="0">
                  <c:v>0.42446043165467695</c:v>
                </c:pt>
                <c:pt idx="1">
                  <c:v>8.8928856914468474E-2</c:v>
                </c:pt>
                <c:pt idx="2">
                  <c:v>0.19284572342126308</c:v>
                </c:pt>
                <c:pt idx="3">
                  <c:v>0.14248601119104726</c:v>
                </c:pt>
                <c:pt idx="4">
                  <c:v>0.10811350919264597</c:v>
                </c:pt>
                <c:pt idx="5">
                  <c:v>3.896882494004799E-2</c:v>
                </c:pt>
                <c:pt idx="6">
                  <c:v>3.9968025579536406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Others</c:v>
                </c:pt>
              </c:strCache>
            </c:strRef>
          </c:cat>
          <c:val>
            <c:numRef>
              <c:f>Sheet1!$D$2:$D$8</c:f>
              <c:numCache>
                <c:formatCode>General</c:formatCode>
                <c:ptCount val="7"/>
                <c:pt idx="0">
                  <c:v>74.185778995489343</c:v>
                </c:pt>
                <c:pt idx="1">
                  <c:v>68.918920950829786</c:v>
                </c:pt>
                <c:pt idx="2">
                  <c:v>170.08136561307657</c:v>
                </c:pt>
                <c:pt idx="3">
                  <c:v>164.98915036823391</c:v>
                </c:pt>
                <c:pt idx="4">
                  <c:v>154.75239196390999</c:v>
                </c:pt>
                <c:pt idx="5">
                  <c:v>136.85090685685319</c:v>
                </c:pt>
                <c:pt idx="6">
                  <c:v>552.1449941555117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Universal Beauty Prods Inc</c:v>
                </c:pt>
              </c:strCache>
            </c:strRef>
          </c:cat>
          <c:val>
            <c:numRef>
              <c:f>Sheet1!$B$2:$B$8</c:f>
              <c:numCache>
                <c:formatCode>General</c:formatCode>
                <c:ptCount val="7"/>
                <c:pt idx="0">
                  <c:v>0.60821345079648781</c:v>
                </c:pt>
                <c:pt idx="1">
                  <c:v>0.11716739610818547</c:v>
                </c:pt>
                <c:pt idx="2">
                  <c:v>0.10950056534360224</c:v>
                </c:pt>
                <c:pt idx="3">
                  <c:v>6.9469275220367055E-2</c:v>
                </c:pt>
                <c:pt idx="4">
                  <c:v>6.4530133515115273E-2</c:v>
                </c:pt>
                <c:pt idx="5">
                  <c:v>2.0756485770872024E-2</c:v>
                </c:pt>
                <c:pt idx="6">
                  <c:v>1.036176230340178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Universal Beauty Prods Inc</c:v>
                </c:pt>
              </c:strCache>
            </c:strRef>
          </c:cat>
          <c:val>
            <c:numRef>
              <c:f>Sheet1!$C$2:$C$8</c:f>
              <c:numCache>
                <c:formatCode>General</c:formatCode>
                <c:ptCount val="7"/>
                <c:pt idx="0">
                  <c:v>0.45586808923375299</c:v>
                </c:pt>
                <c:pt idx="1">
                  <c:v>8.7536372453928077E-2</c:v>
                </c:pt>
                <c:pt idx="2">
                  <c:v>0.20247332686711902</c:v>
                </c:pt>
                <c:pt idx="3">
                  <c:v>0.1032977691561589</c:v>
                </c:pt>
                <c:pt idx="4">
                  <c:v>9.9903006789524532E-2</c:v>
                </c:pt>
                <c:pt idx="5">
                  <c:v>3.4190106692531468E-2</c:v>
                </c:pt>
                <c:pt idx="6">
                  <c:v>1.648884578079531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Universal Beauty Prods Inc</c:v>
                </c:pt>
              </c:strCache>
            </c:strRef>
          </c:cat>
          <c:val>
            <c:numRef>
              <c:f>Sheet1!$D$2:$D$8</c:f>
              <c:numCache>
                <c:formatCode>General</c:formatCode>
                <c:ptCount val="7"/>
                <c:pt idx="0">
                  <c:v>74.951990725750889</c:v>
                </c:pt>
                <c:pt idx="1">
                  <c:v>74.710521323783752</c:v>
                </c:pt>
                <c:pt idx="2">
                  <c:v>184.90619316144824</c:v>
                </c:pt>
                <c:pt idx="3">
                  <c:v>148.69561950730412</c:v>
                </c:pt>
                <c:pt idx="4">
                  <c:v>154.81605468261378</c:v>
                </c:pt>
                <c:pt idx="5">
                  <c:v>164.72011240222128</c:v>
                </c:pt>
                <c:pt idx="6">
                  <c:v>159.131673724864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B$2:$B$9</c:f>
              <c:numCache>
                <c:formatCode>General</c:formatCode>
                <c:ptCount val="8"/>
                <c:pt idx="0">
                  <c:v>0.5609059526671718</c:v>
                </c:pt>
                <c:pt idx="1">
                  <c:v>0.14437866093188914</c:v>
                </c:pt>
                <c:pt idx="2">
                  <c:v>0.11684652230384927</c:v>
                </c:pt>
                <c:pt idx="3">
                  <c:v>6.9762997627676876E-2</c:v>
                </c:pt>
                <c:pt idx="4">
                  <c:v>6.904104765254232E-2</c:v>
                </c:pt>
                <c:pt idx="5">
                  <c:v>2.6237580678757276E-2</c:v>
                </c:pt>
                <c:pt idx="6">
                  <c:v>1.2821323280886886E-2</c:v>
                </c:pt>
                <c:pt idx="7">
                  <c:v>5.3517590955251628E-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C$2:$C$9</c:f>
              <c:numCache>
                <c:formatCode>General</c:formatCode>
                <c:ptCount val="8"/>
                <c:pt idx="0">
                  <c:v>0.43982026318604739</c:v>
                </c:pt>
                <c:pt idx="1">
                  <c:v>8.8905531186476483E-2</c:v>
                </c:pt>
                <c:pt idx="2">
                  <c:v>0.20862308762169576</c:v>
                </c:pt>
                <c:pt idx="3">
                  <c:v>9.5538675510858581E-2</c:v>
                </c:pt>
                <c:pt idx="4">
                  <c:v>0.11543810848400492</c:v>
                </c:pt>
                <c:pt idx="5">
                  <c:v>3.3700652615812385E-2</c:v>
                </c:pt>
                <c:pt idx="6">
                  <c:v>1.7224778003637444E-2</c:v>
                </c:pt>
                <c:pt idx="7">
                  <c:v>3.2095859634107037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D$2:$D$9</c:f>
              <c:numCache>
                <c:formatCode>General</c:formatCode>
                <c:ptCount val="8"/>
                <c:pt idx="0">
                  <c:v>78.412479149963005</c:v>
                </c:pt>
                <c:pt idx="1">
                  <c:v>61.578027260148779</c:v>
                </c:pt>
                <c:pt idx="2">
                  <c:v>178.54454159892708</c:v>
                </c:pt>
                <c:pt idx="3">
                  <c:v>136.94749187921335</c:v>
                </c:pt>
                <c:pt idx="4">
                  <c:v>167.20213903033684</c:v>
                </c:pt>
                <c:pt idx="5">
                  <c:v>128.44420767459491</c:v>
                </c:pt>
                <c:pt idx="6">
                  <c:v>134.34477570123292</c:v>
                </c:pt>
                <c:pt idx="7">
                  <c:v>599725.4185253550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4082386189050302</c:v>
                </c:pt>
                <c:pt idx="1">
                  <c:v>0.18453803758152043</c:v>
                </c:pt>
                <c:pt idx="2">
                  <c:v>0.15328225460688705</c:v>
                </c:pt>
                <c:pt idx="3">
                  <c:v>0.11808411865374223</c:v>
                </c:pt>
                <c:pt idx="4">
                  <c:v>3.271727267347310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39540797791179255</c:v>
                </c:pt>
                <c:pt idx="1">
                  <c:v>0.27019302962048003</c:v>
                </c:pt>
                <c:pt idx="2">
                  <c:v>0.14110295720409791</c:v>
                </c:pt>
                <c:pt idx="3">
                  <c:v>0.16403884811935385</c:v>
                </c:pt>
                <c:pt idx="4">
                  <c:v>2.92571871442757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73.112154580163136</c:v>
                </c:pt>
                <c:pt idx="1">
                  <c:v>146.41590057070005</c:v>
                </c:pt>
                <c:pt idx="2">
                  <c:v>92.054333077221116</c:v>
                </c:pt>
                <c:pt idx="3">
                  <c:v>138.91694326852246</c:v>
                </c:pt>
                <c:pt idx="4">
                  <c:v>894.242849526916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Bic</c:v>
                </c:pt>
              </c:strCache>
            </c:strRef>
          </c:cat>
          <c:val>
            <c:numRef>
              <c:f>Sheet1!$B$2:$B$4</c:f>
              <c:numCache>
                <c:formatCode>General</c:formatCode>
                <c:ptCount val="3"/>
                <c:pt idx="0">
                  <c:v>0.58060561431334312</c:v>
                </c:pt>
                <c:pt idx="1">
                  <c:v>0.40033726926049551</c:v>
                </c:pt>
                <c:pt idx="2">
                  <c:v>1.90571164261613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Bic</c:v>
                </c:pt>
              </c:strCache>
            </c:strRef>
          </c:cat>
          <c:val>
            <c:numRef>
              <c:f>Sheet1!$C$2:$C$4</c:f>
              <c:numCache>
                <c:formatCode>General</c:formatCode>
                <c:ptCount val="3"/>
                <c:pt idx="0">
                  <c:v>0.37800687285223367</c:v>
                </c:pt>
                <c:pt idx="1">
                  <c:v>0.5807560137457044</c:v>
                </c:pt>
                <c:pt idx="2">
                  <c:v>4.123711340206185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Bic</c:v>
                </c:pt>
              </c:strCache>
            </c:strRef>
          </c:cat>
          <c:val>
            <c:numRef>
              <c:f>Sheet1!$D$2:$D$4</c:f>
              <c:numCache>
                <c:formatCode>General</c:formatCode>
                <c:ptCount val="3"/>
                <c:pt idx="0">
                  <c:v>65.105617915749207</c:v>
                </c:pt>
                <c:pt idx="1">
                  <c:v>145.06668710072361</c:v>
                </c:pt>
                <c:pt idx="2">
                  <c:v>216.386952149025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ter &amp; Gamble</c:v>
                </c:pt>
                <c:pt idx="1">
                  <c:v>Edgewell Personal Care</c:v>
                </c:pt>
                <c:pt idx="2">
                  <c:v>Bic</c:v>
                </c:pt>
                <c:pt idx="3">
                  <c:v>Others</c:v>
                </c:pt>
              </c:strCache>
            </c:strRef>
          </c:cat>
          <c:val>
            <c:numRef>
              <c:f>Sheet1!$B$2:$B$5</c:f>
              <c:numCache>
                <c:formatCode>General</c:formatCode>
                <c:ptCount val="4"/>
                <c:pt idx="0">
                  <c:v>0.64685757162682911</c:v>
                </c:pt>
                <c:pt idx="1">
                  <c:v>0.30061391144213834</c:v>
                </c:pt>
                <c:pt idx="2">
                  <c:v>4.4594999991539257E-2</c:v>
                </c:pt>
                <c:pt idx="3">
                  <c:v>7.933516939493366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ter &amp; Gamble</c:v>
                </c:pt>
                <c:pt idx="1">
                  <c:v>Edgewell Personal Care</c:v>
                </c:pt>
                <c:pt idx="2">
                  <c:v>Bic</c:v>
                </c:pt>
                <c:pt idx="3">
                  <c:v>Others</c:v>
                </c:pt>
              </c:strCache>
            </c:strRef>
          </c:cat>
          <c:val>
            <c:numRef>
              <c:f>Sheet1!$C$2:$C$5</c:f>
              <c:numCache>
                <c:formatCode>General</c:formatCode>
                <c:ptCount val="4"/>
                <c:pt idx="0">
                  <c:v>0.36050724637681159</c:v>
                </c:pt>
                <c:pt idx="1">
                  <c:v>0.38949275362318836</c:v>
                </c:pt>
                <c:pt idx="2">
                  <c:v>0.14492753623188406</c:v>
                </c:pt>
                <c:pt idx="3">
                  <c:v>0.10507246376811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ter &amp; Gamble</c:v>
                </c:pt>
                <c:pt idx="1">
                  <c:v>Edgewell Personal Care</c:v>
                </c:pt>
                <c:pt idx="2">
                  <c:v>Bic</c:v>
                </c:pt>
                <c:pt idx="3">
                  <c:v>Others</c:v>
                </c:pt>
              </c:strCache>
            </c:strRef>
          </c:cat>
          <c:val>
            <c:numRef>
              <c:f>Sheet1!$D$2:$D$5</c:f>
              <c:numCache>
                <c:formatCode>General</c:formatCode>
                <c:ptCount val="4"/>
                <c:pt idx="0">
                  <c:v>55.732090368849775</c:v>
                </c:pt>
                <c:pt idx="1">
                  <c:v>129.56577816198543</c:v>
                </c:pt>
                <c:pt idx="2">
                  <c:v>324.98606628406839</c:v>
                </c:pt>
                <c:pt idx="3">
                  <c:v>1324.41216889650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Cremo</c:v>
                </c:pt>
                <c:pt idx="7">
                  <c:v>Others</c:v>
                </c:pt>
              </c:strCache>
            </c:strRef>
          </c:cat>
          <c:val>
            <c:numRef>
              <c:f>Sheet1!$B$2:$B$9</c:f>
              <c:numCache>
                <c:formatCode>General</c:formatCode>
                <c:ptCount val="8"/>
                <c:pt idx="0">
                  <c:v>0.57215875792109039</c:v>
                </c:pt>
                <c:pt idx="1">
                  <c:v>0.12903402387555485</c:v>
                </c:pt>
                <c:pt idx="2">
                  <c:v>0.1047374789670963</c:v>
                </c:pt>
                <c:pt idx="3">
                  <c:v>8.6360836984151618E-2</c:v>
                </c:pt>
                <c:pt idx="4">
                  <c:v>6.9859745722448893E-2</c:v>
                </c:pt>
                <c:pt idx="5">
                  <c:v>2.8475386707381922E-2</c:v>
                </c:pt>
                <c:pt idx="6">
                  <c:v>2.5083084027151109E-6</c:v>
                </c:pt>
                <c:pt idx="7">
                  <c:v>9.3712615138733055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Cremo</c:v>
                </c:pt>
                <c:pt idx="7">
                  <c:v>Others</c:v>
                </c:pt>
              </c:strCache>
            </c:strRef>
          </c:cat>
          <c:val>
            <c:numRef>
              <c:f>Sheet1!$C$2:$C$9</c:f>
              <c:numCache>
                <c:formatCode>General</c:formatCode>
                <c:ptCount val="8"/>
                <c:pt idx="0">
                  <c:v>0.42446043165467695</c:v>
                </c:pt>
                <c:pt idx="1">
                  <c:v>8.8928856914468474E-2</c:v>
                </c:pt>
                <c:pt idx="2">
                  <c:v>0.17885691446842533</c:v>
                </c:pt>
                <c:pt idx="3">
                  <c:v>0.14248601119104728</c:v>
                </c:pt>
                <c:pt idx="4">
                  <c:v>0.10791366906474829</c:v>
                </c:pt>
                <c:pt idx="5">
                  <c:v>3.896882494004799E-2</c:v>
                </c:pt>
                <c:pt idx="6">
                  <c:v>1.9984012789768201E-4</c:v>
                </c:pt>
                <c:pt idx="7">
                  <c:v>1.818545163868906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Cremo</c:v>
                </c:pt>
                <c:pt idx="7">
                  <c:v>Others</c:v>
                </c:pt>
              </c:strCache>
            </c:strRef>
          </c:cat>
          <c:val>
            <c:numRef>
              <c:f>Sheet1!$D$2:$D$9</c:f>
              <c:numCache>
                <c:formatCode>General</c:formatCode>
                <c:ptCount val="8"/>
                <c:pt idx="0">
                  <c:v>74.185778995489343</c:v>
                </c:pt>
                <c:pt idx="1">
                  <c:v>68.918920950829786</c:v>
                </c:pt>
                <c:pt idx="2">
                  <c:v>170.76686992305204</c:v>
                </c:pt>
                <c:pt idx="3">
                  <c:v>164.98915036823391</c:v>
                </c:pt>
                <c:pt idx="4">
                  <c:v>154.47188928154239</c:v>
                </c:pt>
                <c:pt idx="5">
                  <c:v>136.85090685685319</c:v>
                </c:pt>
                <c:pt idx="6">
                  <c:v>7967.1274744910024</c:v>
                </c:pt>
                <c:pt idx="7">
                  <c:v>194.0555346979394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4232810204621629</c:v>
                </c:pt>
                <c:pt idx="1">
                  <c:v>0.17466163350264091</c:v>
                </c:pt>
                <c:pt idx="2">
                  <c:v>0.16328107149783413</c:v>
                </c:pt>
                <c:pt idx="3">
                  <c:v>0.11709290612027616</c:v>
                </c:pt>
                <c:pt idx="4">
                  <c:v>2.636286833032484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39277566539923936</c:v>
                </c:pt>
                <c:pt idx="1">
                  <c:v>0.23384030418250942</c:v>
                </c:pt>
                <c:pt idx="2">
                  <c:v>0.19391634980988587</c:v>
                </c:pt>
                <c:pt idx="3">
                  <c:v>0.15779467680608358</c:v>
                </c:pt>
                <c:pt idx="4">
                  <c:v>2.167300380228136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72.423992766977747</c:v>
                </c:pt>
                <c:pt idx="1">
                  <c:v>133.88189466290186</c:v>
                </c:pt>
                <c:pt idx="2">
                  <c:v>118.76229622394297</c:v>
                </c:pt>
                <c:pt idx="3">
                  <c:v>134.76023615299047</c:v>
                </c:pt>
                <c:pt idx="4">
                  <c:v>822.1034043306739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9178393832722365</c:v>
                </c:pt>
                <c:pt idx="1">
                  <c:v>0.16414064550992524</c:v>
                </c:pt>
                <c:pt idx="2">
                  <c:v>0.13480606533282488</c:v>
                </c:pt>
                <c:pt idx="3">
                  <c:v>0.10662706404701726</c:v>
                </c:pt>
                <c:pt idx="4">
                  <c:v>2.64228678300894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42528451261751626</c:v>
                </c:pt>
                <c:pt idx="1">
                  <c:v>0.25903018307768433</c:v>
                </c:pt>
                <c:pt idx="2">
                  <c:v>0.14200890648193967</c:v>
                </c:pt>
                <c:pt idx="3">
                  <c:v>0.14646214745175659</c:v>
                </c:pt>
                <c:pt idx="4">
                  <c:v>2.721425037110341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71.864828541925988</c:v>
                </c:pt>
                <c:pt idx="1">
                  <c:v>157.80989667304635</c:v>
                </c:pt>
                <c:pt idx="2">
                  <c:v>105.34311355452115</c:v>
                </c:pt>
                <c:pt idx="3">
                  <c:v>137.35926123519076</c:v>
                </c:pt>
                <c:pt idx="4">
                  <c:v>1029.95066796317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3591446079632776</c:v>
                </c:pt>
                <c:pt idx="1">
                  <c:v>0.18718514906711023</c:v>
                </c:pt>
                <c:pt idx="2">
                  <c:v>0.15428676179551037</c:v>
                </c:pt>
                <c:pt idx="3">
                  <c:v>0.11923589594459544</c:v>
                </c:pt>
                <c:pt idx="4">
                  <c:v>3.377732396456250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3932027377861701</c:v>
                </c:pt>
                <c:pt idx="1">
                  <c:v>0.272598536700496</c:v>
                </c:pt>
                <c:pt idx="2">
                  <c:v>0.13877743686570709</c:v>
                </c:pt>
                <c:pt idx="3">
                  <c:v>0.16568326646211964</c:v>
                </c:pt>
                <c:pt idx="4">
                  <c:v>2.973802218550866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73.37042878109709</c:v>
                </c:pt>
                <c:pt idx="1">
                  <c:v>145.63042958219035</c:v>
                </c:pt>
                <c:pt idx="2">
                  <c:v>89.947728016769744</c:v>
                </c:pt>
                <c:pt idx="3">
                  <c:v>138.95418418217497</c:v>
                </c:pt>
                <c:pt idx="4">
                  <c:v>880.413801185325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B$2:$B$9</c:f>
              <c:numCache>
                <c:formatCode>General</c:formatCode>
                <c:ptCount val="8"/>
                <c:pt idx="0">
                  <c:v>0.57662833609349229</c:v>
                </c:pt>
                <c:pt idx="1">
                  <c:v>0.20956447897778954</c:v>
                </c:pt>
                <c:pt idx="2">
                  <c:v>8.255687302641837E-2</c:v>
                </c:pt>
                <c:pt idx="3">
                  <c:v>4.4556517922937348E-2</c:v>
                </c:pt>
                <c:pt idx="4">
                  <c:v>3.8733231796975069E-2</c:v>
                </c:pt>
                <c:pt idx="5">
                  <c:v>3.0087863071349849E-2</c:v>
                </c:pt>
                <c:pt idx="6">
                  <c:v>1.786491388394575E-2</c:v>
                </c:pt>
                <c:pt idx="7">
                  <c:v>3.0351762541116091E-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C$2:$C$9</c:f>
              <c:numCache>
                <c:formatCode>General</c:formatCode>
                <c:ptCount val="8"/>
                <c:pt idx="0">
                  <c:v>0.47834722250660366</c:v>
                </c:pt>
                <c:pt idx="1">
                  <c:v>0.13951964618440177</c:v>
                </c:pt>
                <c:pt idx="2">
                  <c:v>0.15485575052724254</c:v>
                </c:pt>
                <c:pt idx="3">
                  <c:v>7.2032596900018384E-2</c:v>
                </c:pt>
                <c:pt idx="4">
                  <c:v>6.2572943753967089E-2</c:v>
                </c:pt>
                <c:pt idx="5">
                  <c:v>6.0853006818321391E-2</c:v>
                </c:pt>
                <c:pt idx="6">
                  <c:v>3.0876963082782195E-2</c:v>
                </c:pt>
                <c:pt idx="7">
                  <c:v>1.8427895739060989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D$2:$D$9</c:f>
              <c:numCache>
                <c:formatCode>General</c:formatCode>
                <c:ptCount val="8"/>
                <c:pt idx="0">
                  <c:v>82.955899418207963</c:v>
                </c:pt>
                <c:pt idx="1">
                  <c:v>66.575999360649575</c:v>
                </c:pt>
                <c:pt idx="2">
                  <c:v>187.57463170593729</c:v>
                </c:pt>
                <c:pt idx="3">
                  <c:v>161.66567823949401</c:v>
                </c:pt>
                <c:pt idx="4">
                  <c:v>161.54847104406562</c:v>
                </c:pt>
                <c:pt idx="5">
                  <c:v>202.25100956493853</c:v>
                </c:pt>
                <c:pt idx="6">
                  <c:v>172.83577902118904</c:v>
                </c:pt>
                <c:pt idx="7">
                  <c:v>6071441.72075595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B$2:$B$3</c:f>
              <c:numCache>
                <c:formatCode>General</c:formatCode>
                <c:ptCount val="2"/>
                <c:pt idx="0">
                  <c:v>0.99999345956864738</c:v>
                </c:pt>
                <c:pt idx="1">
                  <c:v>6.375798069195818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C$2:$C$3</c:f>
              <c:numCache>
                <c:formatCode>General</c:formatCode>
                <c:ptCount val="2"/>
                <c:pt idx="0">
                  <c:v>0.99439252336448591</c:v>
                </c:pt>
                <c:pt idx="1">
                  <c:v>3.7383177570093459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D$2:$D$3</c:f>
              <c:numCache>
                <c:formatCode>General</c:formatCode>
                <c:ptCount val="2"/>
                <c:pt idx="0">
                  <c:v>99.439902716306023</c:v>
                </c:pt>
                <c:pt idx="1">
                  <c:v>58632.9384406125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B$2:$B$4</c:f>
              <c:numCache>
                <c:formatCode>General</c:formatCode>
                <c:ptCount val="3"/>
                <c:pt idx="0">
                  <c:v>0.90928863633829238</c:v>
                </c:pt>
                <c:pt idx="1">
                  <c:v>8.9289807892067544E-2</c:v>
                </c:pt>
                <c:pt idx="2">
                  <c:v>1.421555769640087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C$2:$C$4</c:f>
              <c:numCache>
                <c:formatCode>General</c:formatCode>
                <c:ptCount val="3"/>
                <c:pt idx="0">
                  <c:v>0.79849812265331677</c:v>
                </c:pt>
                <c:pt idx="1">
                  <c:v>0.12515644555694622</c:v>
                </c:pt>
                <c:pt idx="2">
                  <c:v>7.634543178973718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D$2:$D$4</c:f>
              <c:numCache>
                <c:formatCode>General</c:formatCode>
                <c:ptCount val="3"/>
                <c:pt idx="0">
                  <c:v>87.815693580959149</c:v>
                </c:pt>
                <c:pt idx="1">
                  <c:v>140.16879251015283</c:v>
                </c:pt>
                <c:pt idx="2">
                  <c:v>5370.554811864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Unilever</c:v>
                </c:pt>
                <c:pt idx="4">
                  <c:v>Edgewell Personal Care</c:v>
                </c:pt>
                <c:pt idx="5">
                  <c:v>Pbg</c:v>
                </c:pt>
                <c:pt idx="6">
                  <c:v>Others</c:v>
                </c:pt>
              </c:strCache>
            </c:strRef>
          </c:cat>
          <c:val>
            <c:numRef>
              <c:f>Sheet1!$B$2:$B$8</c:f>
              <c:numCache>
                <c:formatCode>General</c:formatCode>
                <c:ptCount val="7"/>
                <c:pt idx="0">
                  <c:v>0.59012128868399372</c:v>
                </c:pt>
                <c:pt idx="1">
                  <c:v>0.20514442686203471</c:v>
                </c:pt>
                <c:pt idx="2">
                  <c:v>7.6486299352424139E-2</c:v>
                </c:pt>
                <c:pt idx="3">
                  <c:v>4.56218420807529E-2</c:v>
                </c:pt>
                <c:pt idx="4">
                  <c:v>4.1422314772833112E-2</c:v>
                </c:pt>
                <c:pt idx="5">
                  <c:v>4.0043314347797926E-2</c:v>
                </c:pt>
                <c:pt idx="6">
                  <c:v>1.159745621877539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Unilever</c:v>
                </c:pt>
                <c:pt idx="4">
                  <c:v>Edgewell Personal Care</c:v>
                </c:pt>
                <c:pt idx="5">
                  <c:v>Pbg</c:v>
                </c:pt>
                <c:pt idx="6">
                  <c:v>Others</c:v>
                </c:pt>
              </c:strCache>
            </c:strRef>
          </c:cat>
          <c:val>
            <c:numRef>
              <c:f>Sheet1!$C$2:$C$8</c:f>
              <c:numCache>
                <c:formatCode>General</c:formatCode>
                <c:ptCount val="7"/>
                <c:pt idx="0">
                  <c:v>0.45956192080876113</c:v>
                </c:pt>
                <c:pt idx="1">
                  <c:v>0.16343723673125515</c:v>
                </c:pt>
                <c:pt idx="2">
                  <c:v>0.14743049705138989</c:v>
                </c:pt>
                <c:pt idx="3">
                  <c:v>8.2139848357202963E-2</c:v>
                </c:pt>
                <c:pt idx="4">
                  <c:v>5.3074978938500376E-2</c:v>
                </c:pt>
                <c:pt idx="5">
                  <c:v>8.5509688289806152E-2</c:v>
                </c:pt>
                <c:pt idx="6">
                  <c:v>8.424599831507997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Unilever</c:v>
                </c:pt>
                <c:pt idx="4">
                  <c:v>Edgewell Personal Care</c:v>
                </c:pt>
                <c:pt idx="5">
                  <c:v>Pbg</c:v>
                </c:pt>
                <c:pt idx="6">
                  <c:v>Others</c:v>
                </c:pt>
              </c:strCache>
            </c:strRef>
          </c:cat>
          <c:val>
            <c:numRef>
              <c:f>Sheet1!$D$2:$D$8</c:f>
              <c:numCache>
                <c:formatCode>General</c:formatCode>
                <c:ptCount val="7"/>
                <c:pt idx="0">
                  <c:v>77.875841733080335</c:v>
                </c:pt>
                <c:pt idx="1">
                  <c:v>79.669352578206372</c:v>
                </c:pt>
                <c:pt idx="2">
                  <c:v>192.75412498659114</c:v>
                </c:pt>
                <c:pt idx="3">
                  <c:v>180.04500609995404</c:v>
                </c:pt>
                <c:pt idx="4">
                  <c:v>128.13136887586418</c:v>
                </c:pt>
                <c:pt idx="5">
                  <c:v>213.5429838477107</c:v>
                </c:pt>
                <c:pt idx="6">
                  <c:v>726.417903425167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Edgewell Personal Care</c:v>
                </c:pt>
                <c:pt idx="4">
                  <c:v>Unilever</c:v>
                </c:pt>
                <c:pt idx="5">
                  <c:v>Pbg</c:v>
                </c:pt>
                <c:pt idx="6">
                  <c:v>Universal Beauty Prods Inc</c:v>
                </c:pt>
              </c:strCache>
            </c:strRef>
          </c:cat>
          <c:val>
            <c:numRef>
              <c:f>Sheet1!$B$2:$B$8</c:f>
              <c:numCache>
                <c:formatCode>General</c:formatCode>
                <c:ptCount val="7"/>
                <c:pt idx="0">
                  <c:v>0.6182635657766159</c:v>
                </c:pt>
                <c:pt idx="1">
                  <c:v>0.18722367556157865</c:v>
                </c:pt>
                <c:pt idx="2">
                  <c:v>7.6076622349415271E-2</c:v>
                </c:pt>
                <c:pt idx="3">
                  <c:v>3.8778974255364349E-2</c:v>
                </c:pt>
                <c:pt idx="4">
                  <c:v>3.3453458305565988E-2</c:v>
                </c:pt>
                <c:pt idx="5">
                  <c:v>2.9502036126015829E-2</c:v>
                </c:pt>
                <c:pt idx="6">
                  <c:v>1.670016721594938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Edgewell Personal Care</c:v>
                </c:pt>
                <c:pt idx="4">
                  <c:v>Unilever</c:v>
                </c:pt>
                <c:pt idx="5">
                  <c:v>Pbg</c:v>
                </c:pt>
                <c:pt idx="6">
                  <c:v>Universal Beauty Prods Inc</c:v>
                </c:pt>
              </c:strCache>
            </c:strRef>
          </c:cat>
          <c:val>
            <c:numRef>
              <c:f>Sheet1!$C$2:$C$8</c:f>
              <c:numCache>
                <c:formatCode>General</c:formatCode>
                <c:ptCount val="7"/>
                <c:pt idx="0">
                  <c:v>0.4852591535901094</c:v>
                </c:pt>
                <c:pt idx="1">
                  <c:v>0.1455064194008559</c:v>
                </c:pt>
                <c:pt idx="2">
                  <c:v>0.1481217308606752</c:v>
                </c:pt>
                <c:pt idx="3">
                  <c:v>5.5159296243461726E-2</c:v>
                </c:pt>
                <c:pt idx="4">
                  <c:v>6.7047075606276735E-2</c:v>
                </c:pt>
                <c:pt idx="5">
                  <c:v>6.6096053257251527E-2</c:v>
                </c:pt>
                <c:pt idx="6">
                  <c:v>3.233475986685686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Edgewell Personal Care</c:v>
                </c:pt>
                <c:pt idx="4">
                  <c:v>Unilever</c:v>
                </c:pt>
                <c:pt idx="5">
                  <c:v>Pbg</c:v>
                </c:pt>
                <c:pt idx="6">
                  <c:v>Universal Beauty Prods Inc</c:v>
                </c:pt>
              </c:strCache>
            </c:strRef>
          </c:cat>
          <c:val>
            <c:numRef>
              <c:f>Sheet1!$D$2:$D$8</c:f>
              <c:numCache>
                <c:formatCode>General</c:formatCode>
                <c:ptCount val="7"/>
                <c:pt idx="0">
                  <c:v>78.487425177733641</c:v>
                </c:pt>
                <c:pt idx="1">
                  <c:v>77.717958994453255</c:v>
                </c:pt>
                <c:pt idx="2">
                  <c:v>194.70071920433213</c:v>
                </c:pt>
                <c:pt idx="3">
                  <c:v>142.24021471076293</c:v>
                </c:pt>
                <c:pt idx="4">
                  <c:v>200.41896713297783</c:v>
                </c:pt>
                <c:pt idx="5">
                  <c:v>224.03895437903668</c:v>
                </c:pt>
                <c:pt idx="6">
                  <c:v>193.619377870514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B$2:$B$9</c:f>
              <c:numCache>
                <c:formatCode>General</c:formatCode>
                <c:ptCount val="8"/>
                <c:pt idx="0">
                  <c:v>0.5727952101920154</c:v>
                </c:pt>
                <c:pt idx="1">
                  <c:v>0.21145741906350762</c:v>
                </c:pt>
                <c:pt idx="2">
                  <c:v>8.3384172322738523E-2</c:v>
                </c:pt>
                <c:pt idx="3">
                  <c:v>4.5161741813225832E-2</c:v>
                </c:pt>
                <c:pt idx="4">
                  <c:v>3.8719642779360929E-2</c:v>
                </c:pt>
                <c:pt idx="5">
                  <c:v>2.9552320956033169E-2</c:v>
                </c:pt>
                <c:pt idx="6">
                  <c:v>1.8920839671646029E-2</c:v>
                </c:pt>
                <c:pt idx="7">
                  <c:v>3.4338101081377195E-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C$2:$C$9</c:f>
              <c:numCache>
                <c:formatCode>General</c:formatCode>
                <c:ptCount val="8"/>
                <c:pt idx="0">
                  <c:v>0.47847358121330863</c:v>
                </c:pt>
                <c:pt idx="1">
                  <c:v>0.1383561643835618</c:v>
                </c:pt>
                <c:pt idx="2">
                  <c:v>0.15557729941291601</c:v>
                </c:pt>
                <c:pt idx="3">
                  <c:v>7.3776908023483426E-2</c:v>
                </c:pt>
                <c:pt idx="4">
                  <c:v>6.1643835616438422E-2</c:v>
                </c:pt>
                <c:pt idx="5">
                  <c:v>5.9686888454011787E-2</c:v>
                </c:pt>
                <c:pt idx="6">
                  <c:v>3.150684931506853E-2</c:v>
                </c:pt>
                <c:pt idx="7">
                  <c:v>1.956947162426617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D$2:$D$9</c:f>
              <c:numCache>
                <c:formatCode>General</c:formatCode>
                <c:ptCount val="8"/>
                <c:pt idx="0">
                  <c:v>83.533097466529483</c:v>
                </c:pt>
                <c:pt idx="1">
                  <c:v>65.429799056617114</c:v>
                </c:pt>
                <c:pt idx="2">
                  <c:v>186.57893348242865</c:v>
                </c:pt>
                <c:pt idx="3">
                  <c:v>163.36152030761025</c:v>
                </c:pt>
                <c:pt idx="4">
                  <c:v>159.20558969954385</c:v>
                </c:pt>
                <c:pt idx="5">
                  <c:v>201.97022272061707</c:v>
                </c:pt>
                <c:pt idx="6">
                  <c:v>166.51929756734509</c:v>
                </c:pt>
                <c:pt idx="7">
                  <c:v>5699054.69667319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B$2:$B$7</c:f>
              <c:numCache>
                <c:formatCode>General</c:formatCode>
                <c:ptCount val="6"/>
                <c:pt idx="0">
                  <c:v>0.61709940359128201</c:v>
                </c:pt>
                <c:pt idx="1">
                  <c:v>0.24341488493153948</c:v>
                </c:pt>
                <c:pt idx="2">
                  <c:v>4.6455889563729022E-2</c:v>
                </c:pt>
                <c:pt idx="3">
                  <c:v>4.0291318503790183E-2</c:v>
                </c:pt>
                <c:pt idx="4">
                  <c:v>3.922074446846973E-2</c:v>
                </c:pt>
                <c:pt idx="5">
                  <c:v>1.351348236795649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C$2:$C$7</c:f>
              <c:numCache>
                <c:formatCode>General</c:formatCode>
                <c:ptCount val="6"/>
                <c:pt idx="0">
                  <c:v>0.53388518024032006</c:v>
                </c:pt>
                <c:pt idx="1">
                  <c:v>0.14371161548731626</c:v>
                </c:pt>
                <c:pt idx="2">
                  <c:v>8.0053404539385767E-2</c:v>
                </c:pt>
                <c:pt idx="3">
                  <c:v>7.8024032042723554E-2</c:v>
                </c:pt>
                <c:pt idx="4">
                  <c:v>0.11615487316421881</c:v>
                </c:pt>
                <c:pt idx="5">
                  <c:v>4.71562082777035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D$2:$D$7</c:f>
              <c:numCache>
                <c:formatCode>General</c:formatCode>
                <c:ptCount val="6"/>
                <c:pt idx="0">
                  <c:v>86.515264337206119</c:v>
                </c:pt>
                <c:pt idx="1">
                  <c:v>59.039781206369199</c:v>
                </c:pt>
                <c:pt idx="2">
                  <c:v>172.32132522092184</c:v>
                </c:pt>
                <c:pt idx="3">
                  <c:v>193.64973632070112</c:v>
                </c:pt>
                <c:pt idx="4">
                  <c:v>296.15672710546789</c:v>
                </c:pt>
                <c:pt idx="5">
                  <c:v>348.956745520470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Comfort 3</c:v>
                </c:pt>
                <c:pt idx="7">
                  <c:v>Van Der Hagen</c:v>
                </c:pt>
                <c:pt idx="8">
                  <c:v>Cremo</c:v>
                </c:pt>
                <c:pt idx="9">
                  <c:v>Others</c:v>
                </c:pt>
              </c:strCache>
            </c:strRef>
          </c:cat>
          <c:val>
            <c:numRef>
              <c:f>Sheet1!$B$2:$B$11</c:f>
              <c:numCache>
                <c:formatCode>General</c:formatCode>
                <c:ptCount val="10"/>
                <c:pt idx="0">
                  <c:v>0.60821345079648781</c:v>
                </c:pt>
                <c:pt idx="1">
                  <c:v>0.11716739610818547</c:v>
                </c:pt>
                <c:pt idx="2">
                  <c:v>9.8847156376664469E-2</c:v>
                </c:pt>
                <c:pt idx="3">
                  <c:v>6.9469275220367055E-2</c:v>
                </c:pt>
                <c:pt idx="4">
                  <c:v>6.4424733429131145E-2</c:v>
                </c:pt>
                <c:pt idx="5">
                  <c:v>2.0756485770872024E-2</c:v>
                </c:pt>
                <c:pt idx="6">
                  <c:v>1.0653408966937771E-2</c:v>
                </c:pt>
                <c:pt idx="7">
                  <c:v>1.0361762303401785E-2</c:v>
                </c:pt>
                <c:pt idx="8">
                  <c:v>1.0528371823807828E-4</c:v>
                </c:pt>
                <c:pt idx="9">
                  <c:v>1.0473097144434425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Comfort 3</c:v>
                </c:pt>
                <c:pt idx="7">
                  <c:v>Van Der Hagen</c:v>
                </c:pt>
                <c:pt idx="8">
                  <c:v>Cremo</c:v>
                </c:pt>
                <c:pt idx="9">
                  <c:v>Others</c:v>
                </c:pt>
              </c:strCache>
            </c:strRef>
          </c:cat>
          <c:val>
            <c:numRef>
              <c:f>Sheet1!$C$2:$C$11</c:f>
              <c:numCache>
                <c:formatCode>General</c:formatCode>
                <c:ptCount val="10"/>
                <c:pt idx="0">
                  <c:v>0.45586808923375299</c:v>
                </c:pt>
                <c:pt idx="1">
                  <c:v>8.7536372453928077E-2</c:v>
                </c:pt>
                <c:pt idx="2">
                  <c:v>0.18416585838991234</c:v>
                </c:pt>
                <c:pt idx="3">
                  <c:v>0.1032977691561589</c:v>
                </c:pt>
                <c:pt idx="4">
                  <c:v>9.8448108632395545E-2</c:v>
                </c:pt>
                <c:pt idx="5">
                  <c:v>3.4190106692531468E-2</c:v>
                </c:pt>
                <c:pt idx="6">
                  <c:v>1.8307468477206566E-2</c:v>
                </c:pt>
                <c:pt idx="7">
                  <c:v>1.6488845780795319E-2</c:v>
                </c:pt>
                <c:pt idx="8">
                  <c:v>1.3336566440349154E-3</c:v>
                </c:pt>
                <c:pt idx="9">
                  <c:v>3.6372453928224966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Comfort 3</c:v>
                </c:pt>
                <c:pt idx="7">
                  <c:v>Van Der Hagen</c:v>
                </c:pt>
                <c:pt idx="8">
                  <c:v>Cremo</c:v>
                </c:pt>
                <c:pt idx="9">
                  <c:v>Others</c:v>
                </c:pt>
              </c:strCache>
            </c:strRef>
          </c:cat>
          <c:val>
            <c:numRef>
              <c:f>Sheet1!$D$2:$D$11</c:f>
              <c:numCache>
                <c:formatCode>General</c:formatCode>
                <c:ptCount val="10"/>
                <c:pt idx="0">
                  <c:v>74.951990725750889</c:v>
                </c:pt>
                <c:pt idx="1">
                  <c:v>74.710521323783752</c:v>
                </c:pt>
                <c:pt idx="2">
                  <c:v>186.31376474618511</c:v>
                </c:pt>
                <c:pt idx="3">
                  <c:v>148.69561950730412</c:v>
                </c:pt>
                <c:pt idx="4">
                  <c:v>152.81104537388731</c:v>
                </c:pt>
                <c:pt idx="5">
                  <c:v>164.72011240222128</c:v>
                </c:pt>
                <c:pt idx="6">
                  <c:v>171.84610610578005</c:v>
                </c:pt>
                <c:pt idx="7">
                  <c:v>159.13167372486436</c:v>
                </c:pt>
                <c:pt idx="8">
                  <c:v>1266.7263907028007</c:v>
                </c:pt>
                <c:pt idx="9">
                  <c:v>34729.4152117684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B$2:$B$2</c:f>
              <c:numCache>
                <c:formatCode>General</c:formatCode>
                <c:ptCount val="1"/>
                <c:pt idx="0">
                  <c:v>0.9999998005223883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C$2:$C$2</c:f>
              <c:numCache>
                <c:formatCode>General</c:formatCode>
                <c:ptCount val="1"/>
                <c:pt idx="0">
                  <c:v>0.9966329966329967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D$2:$D$2</c:f>
              <c:numCache>
                <c:formatCode>General</c:formatCode>
                <c:ptCount val="1"/>
                <c:pt idx="0">
                  <c:v>99.66331954390062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Pbg</c:v>
                </c:pt>
                <c:pt idx="3">
                  <c:v>Unilever</c:v>
                </c:pt>
                <c:pt idx="4">
                  <c:v>Edgewell Personal Care</c:v>
                </c:pt>
                <c:pt idx="5">
                  <c:v>Others</c:v>
                </c:pt>
              </c:strCache>
            </c:strRef>
          </c:cat>
          <c:val>
            <c:numRef>
              <c:f>Sheet1!$B$2:$B$7</c:f>
              <c:numCache>
                <c:formatCode>General</c:formatCode>
                <c:ptCount val="6"/>
                <c:pt idx="0">
                  <c:v>0.62568502670852777</c:v>
                </c:pt>
                <c:pt idx="1">
                  <c:v>0.24117258792104182</c:v>
                </c:pt>
                <c:pt idx="2">
                  <c:v>4.8878093988261435E-2</c:v>
                </c:pt>
                <c:pt idx="3">
                  <c:v>4.3446221986879467E-2</c:v>
                </c:pt>
                <c:pt idx="4">
                  <c:v>3.9982254620325328E-2</c:v>
                </c:pt>
                <c:pt idx="5">
                  <c:v>8.34550304805395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Pbg</c:v>
                </c:pt>
                <c:pt idx="3">
                  <c:v>Unilever</c:v>
                </c:pt>
                <c:pt idx="4">
                  <c:v>Edgewell Personal Care</c:v>
                </c:pt>
                <c:pt idx="5">
                  <c:v>Others</c:v>
                </c:pt>
              </c:strCache>
            </c:strRef>
          </c:cat>
          <c:val>
            <c:numRef>
              <c:f>Sheet1!$C$2:$C$7</c:f>
              <c:numCache>
                <c:formatCode>General</c:formatCode>
                <c:ptCount val="6"/>
                <c:pt idx="0">
                  <c:v>0.51269990592662285</c:v>
                </c:pt>
                <c:pt idx="1">
                  <c:v>0.19096895578551273</c:v>
                </c:pt>
                <c:pt idx="2">
                  <c:v>0.13922859830667925</c:v>
                </c:pt>
                <c:pt idx="3">
                  <c:v>8.5606773283160895E-2</c:v>
                </c:pt>
                <c:pt idx="4">
                  <c:v>5.7384760112888074E-2</c:v>
                </c:pt>
                <c:pt idx="5">
                  <c:v>1.317027281279398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Pbg</c:v>
                </c:pt>
                <c:pt idx="3">
                  <c:v>Unilever</c:v>
                </c:pt>
                <c:pt idx="4">
                  <c:v>Edgewell Personal Care</c:v>
                </c:pt>
                <c:pt idx="5">
                  <c:v>Others</c:v>
                </c:pt>
              </c:strCache>
            </c:strRef>
          </c:cat>
          <c:val>
            <c:numRef>
              <c:f>Sheet1!$D$2:$D$7</c:f>
              <c:numCache>
                <c:formatCode>General</c:formatCode>
                <c:ptCount val="6"/>
                <c:pt idx="0">
                  <c:v>81.942172825155609</c:v>
                </c:pt>
                <c:pt idx="1">
                  <c:v>79.183524724640193</c:v>
                </c:pt>
                <c:pt idx="2">
                  <c:v>284.84866521210176</c:v>
                </c:pt>
                <c:pt idx="3">
                  <c:v>197.04077677689372</c:v>
                </c:pt>
                <c:pt idx="4">
                  <c:v>143.52557317694644</c:v>
                </c:pt>
                <c:pt idx="5">
                  <c:v>1578.12809329272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Pbg</c:v>
                </c:pt>
                <c:pt idx="4">
                  <c:v>Unilever</c:v>
                </c:pt>
                <c:pt idx="5">
                  <c:v>Universal Beauty Prods Inc</c:v>
                </c:pt>
              </c:strCache>
            </c:strRef>
          </c:cat>
          <c:val>
            <c:numRef>
              <c:f>Sheet1!$B$2:$B$7</c:f>
              <c:numCache>
                <c:formatCode>General</c:formatCode>
                <c:ptCount val="6"/>
                <c:pt idx="0">
                  <c:v>0.65871033624482334</c:v>
                </c:pt>
                <c:pt idx="1">
                  <c:v>0.21478330524000885</c:v>
                </c:pt>
                <c:pt idx="2">
                  <c:v>4.1950084557145072E-2</c:v>
                </c:pt>
                <c:pt idx="3">
                  <c:v>3.7673563884695019E-2</c:v>
                </c:pt>
                <c:pt idx="4">
                  <c:v>3.2889977513461635E-2</c:v>
                </c:pt>
                <c:pt idx="5">
                  <c:v>1.399170306524105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Pbg</c:v>
                </c:pt>
                <c:pt idx="4">
                  <c:v>Unilever</c:v>
                </c:pt>
                <c:pt idx="5">
                  <c:v>Universal Beauty Prods Inc</c:v>
                </c:pt>
              </c:strCache>
            </c:strRef>
          </c:cat>
          <c:val>
            <c:numRef>
              <c:f>Sheet1!$C$2:$C$7</c:f>
              <c:numCache>
                <c:formatCode>General</c:formatCode>
                <c:ptCount val="6"/>
                <c:pt idx="0">
                  <c:v>0.53850541928123197</c:v>
                </c:pt>
                <c:pt idx="1">
                  <c:v>0.15002852253280088</c:v>
                </c:pt>
                <c:pt idx="2">
                  <c:v>7.0735881346263546E-2</c:v>
                </c:pt>
                <c:pt idx="3">
                  <c:v>0.11808328579577868</c:v>
                </c:pt>
                <c:pt idx="4">
                  <c:v>7.5869937250427844E-2</c:v>
                </c:pt>
                <c:pt idx="5">
                  <c:v>4.620650313747860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Pbg</c:v>
                </c:pt>
                <c:pt idx="4">
                  <c:v>Unilever</c:v>
                </c:pt>
                <c:pt idx="5">
                  <c:v>Universal Beauty Prods Inc</c:v>
                </c:pt>
              </c:strCache>
            </c:strRef>
          </c:cat>
          <c:val>
            <c:numRef>
              <c:f>Sheet1!$D$2:$D$7</c:f>
              <c:numCache>
                <c:formatCode>General</c:formatCode>
                <c:ptCount val="6"/>
                <c:pt idx="0">
                  <c:v>81.751475519747316</c:v>
                </c:pt>
                <c:pt idx="1">
                  <c:v>69.851109873345152</c:v>
                </c:pt>
                <c:pt idx="2">
                  <c:v>168.61916273352443</c:v>
                </c:pt>
                <c:pt idx="3">
                  <c:v>313.4380547515716</c:v>
                </c:pt>
                <c:pt idx="4">
                  <c:v>230.67798456041757</c:v>
                </c:pt>
                <c:pt idx="5">
                  <c:v>330.242165103312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B$2:$B$7</c:f>
              <c:numCache>
                <c:formatCode>General</c:formatCode>
                <c:ptCount val="6"/>
                <c:pt idx="0">
                  <c:v>0.6134744311013659</c:v>
                </c:pt>
                <c:pt idx="1">
                  <c:v>0.24568657206703032</c:v>
                </c:pt>
                <c:pt idx="2">
                  <c:v>4.718507805126225E-2</c:v>
                </c:pt>
                <c:pt idx="3">
                  <c:v>4.0651772182946647E-2</c:v>
                </c:pt>
                <c:pt idx="4">
                  <c:v>3.874969133455497E-2</c:v>
                </c:pt>
                <c:pt idx="5">
                  <c:v>1.424775358950609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C$2:$C$7</c:f>
              <c:numCache>
                <c:formatCode>General</c:formatCode>
                <c:ptCount val="6"/>
                <c:pt idx="0">
                  <c:v>0.53433144037170821</c:v>
                </c:pt>
                <c:pt idx="1">
                  <c:v>0.14145585957666487</c:v>
                </c:pt>
                <c:pt idx="2">
                  <c:v>8.1569437274135209E-2</c:v>
                </c:pt>
                <c:pt idx="3">
                  <c:v>7.7955601445534289E-2</c:v>
                </c:pt>
                <c:pt idx="4">
                  <c:v>0.11512648425400093</c:v>
                </c:pt>
                <c:pt idx="5">
                  <c:v>4.852865255549816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D$2:$D$7</c:f>
              <c:numCache>
                <c:formatCode>General</c:formatCode>
                <c:ptCount val="6"/>
                <c:pt idx="0">
                  <c:v>87.099219345201902</c:v>
                </c:pt>
                <c:pt idx="1">
                  <c:v>57.575739034720897</c:v>
                </c:pt>
                <c:pt idx="2">
                  <c:v>172.87125642881742</c:v>
                </c:pt>
                <c:pt idx="3">
                  <c:v>191.764337098781</c:v>
                </c:pt>
                <c:pt idx="4">
                  <c:v>297.10297111795853</c:v>
                </c:pt>
                <c:pt idx="5">
                  <c:v>340.605641799146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B$2:$B$7</c:f>
              <c:numCache>
                <c:formatCode>General</c:formatCode>
                <c:ptCount val="6"/>
                <c:pt idx="0">
                  <c:v>0.64845903530310278</c:v>
                </c:pt>
                <c:pt idx="1">
                  <c:v>0.20224109939179227</c:v>
                </c:pt>
                <c:pt idx="2">
                  <c:v>5.2245126318850414E-2</c:v>
                </c:pt>
                <c:pt idx="3">
                  <c:v>4.5585059620872087E-2</c:v>
                </c:pt>
                <c:pt idx="4">
                  <c:v>2.9879671567027418E-2</c:v>
                </c:pt>
                <c:pt idx="5">
                  <c:v>2.157417993974655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C$2:$C$7</c:f>
              <c:numCache>
                <c:formatCode>General</c:formatCode>
                <c:ptCount val="6"/>
                <c:pt idx="0">
                  <c:v>0.59345005332385314</c:v>
                </c:pt>
                <c:pt idx="1">
                  <c:v>0.18321187344472076</c:v>
                </c:pt>
                <c:pt idx="2">
                  <c:v>8.8473160327052838E-2</c:v>
                </c:pt>
                <c:pt idx="3">
                  <c:v>7.0876288659793743E-2</c:v>
                </c:pt>
                <c:pt idx="4">
                  <c:v>2.7772840383931716E-2</c:v>
                </c:pt>
                <c:pt idx="5">
                  <c:v>3.541592605758972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D$2:$D$7</c:f>
              <c:numCache>
                <c:formatCode>General</c:formatCode>
                <c:ptCount val="6"/>
                <c:pt idx="0">
                  <c:v>91.51696884699318</c:v>
                </c:pt>
                <c:pt idx="1">
                  <c:v>90.590821547005589</c:v>
                </c:pt>
                <c:pt idx="2">
                  <c:v>169.34241825180752</c:v>
                </c:pt>
                <c:pt idx="3">
                  <c:v>155.48139949638571</c:v>
                </c:pt>
                <c:pt idx="4">
                  <c:v>92.94894798836873</c:v>
                </c:pt>
                <c:pt idx="5">
                  <c:v>164.158851722295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B$2:$B$3</c:f>
              <c:numCache>
                <c:formatCode>General</c:formatCode>
                <c:ptCount val="2"/>
                <c:pt idx="0">
                  <c:v>0.9999743809551962</c:v>
                </c:pt>
                <c:pt idx="1">
                  <c:v>2.561904480376797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C$2:$C$3</c:f>
              <c:numCache>
                <c:formatCode>General</c:formatCode>
                <c:ptCount val="2"/>
                <c:pt idx="0">
                  <c:v>0.99578059071729952</c:v>
                </c:pt>
                <c:pt idx="1">
                  <c:v>4.2194092827004216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D$2:$D$3</c:f>
              <c:numCache>
                <c:formatCode>General</c:formatCode>
                <c:ptCount val="2"/>
                <c:pt idx="0">
                  <c:v>99.580610231845071</c:v>
                </c:pt>
                <c:pt idx="1">
                  <c:v>16469.8149951314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B$2:$B$4</c:f>
              <c:numCache>
                <c:formatCode>General</c:formatCode>
                <c:ptCount val="3"/>
                <c:pt idx="0">
                  <c:v>0.68107556181751516</c:v>
                </c:pt>
                <c:pt idx="1">
                  <c:v>0.313926510063266</c:v>
                </c:pt>
                <c:pt idx="2">
                  <c:v>4.997928119218840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C$2:$C$4</c:f>
              <c:numCache>
                <c:formatCode>General</c:formatCode>
                <c:ptCount val="3"/>
                <c:pt idx="0">
                  <c:v>0.63738738738738743</c:v>
                </c:pt>
                <c:pt idx="1">
                  <c:v>0.22522522522522526</c:v>
                </c:pt>
                <c:pt idx="2">
                  <c:v>0.137387387387387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D$2:$D$4</c:f>
              <c:numCache>
                <c:formatCode>General</c:formatCode>
                <c:ptCount val="3"/>
                <c:pt idx="0">
                  <c:v>93.585414470966825</c:v>
                </c:pt>
                <c:pt idx="1">
                  <c:v>71.744570147909883</c:v>
                </c:pt>
                <c:pt idx="2">
                  <c:v>2748.88682090251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Pbg</c:v>
                </c:pt>
                <c:pt idx="5">
                  <c:v>Others</c:v>
                </c:pt>
              </c:strCache>
            </c:strRef>
          </c:cat>
          <c:val>
            <c:numRef>
              <c:f>Sheet1!$B$2:$B$7</c:f>
              <c:numCache>
                <c:formatCode>General</c:formatCode>
                <c:ptCount val="6"/>
                <c:pt idx="0">
                  <c:v>0.66462879645305817</c:v>
                </c:pt>
                <c:pt idx="1">
                  <c:v>0.18553105912505027</c:v>
                </c:pt>
                <c:pt idx="2">
                  <c:v>6.0854558549794685E-2</c:v>
                </c:pt>
                <c:pt idx="3">
                  <c:v>5.4170930417457838E-2</c:v>
                </c:pt>
                <c:pt idx="4">
                  <c:v>3.2748599276019794E-2</c:v>
                </c:pt>
                <c:pt idx="5">
                  <c:v>2.066056178619199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Pbg</c:v>
                </c:pt>
                <c:pt idx="5">
                  <c:v>Others</c:v>
                </c:pt>
              </c:strCache>
            </c:strRef>
          </c:cat>
          <c:val>
            <c:numRef>
              <c:f>Sheet1!$C$2:$C$7</c:f>
              <c:numCache>
                <c:formatCode>General</c:formatCode>
                <c:ptCount val="6"/>
                <c:pt idx="0">
                  <c:v>0.56830031282586035</c:v>
                </c:pt>
                <c:pt idx="1">
                  <c:v>0.19290928050052147</c:v>
                </c:pt>
                <c:pt idx="2">
                  <c:v>0.10844629822732019</c:v>
                </c:pt>
                <c:pt idx="3">
                  <c:v>6.6736183524504736E-2</c:v>
                </c:pt>
                <c:pt idx="4">
                  <c:v>5.7351407716371254E-2</c:v>
                </c:pt>
                <c:pt idx="5">
                  <c:v>6.256517205422318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Pbg</c:v>
                </c:pt>
                <c:pt idx="5">
                  <c:v>Others</c:v>
                </c:pt>
              </c:strCache>
            </c:strRef>
          </c:cat>
          <c:val>
            <c:numRef>
              <c:f>Sheet1!$D$2:$D$7</c:f>
              <c:numCache>
                <c:formatCode>General</c:formatCode>
                <c:ptCount val="6"/>
                <c:pt idx="0">
                  <c:v>85.506423413900123</c:v>
                </c:pt>
                <c:pt idx="1">
                  <c:v>103.97681197437578</c:v>
                </c:pt>
                <c:pt idx="2">
                  <c:v>178.20571015823444</c:v>
                </c:pt>
                <c:pt idx="3">
                  <c:v>123.19556450335114</c:v>
                </c:pt>
                <c:pt idx="4">
                  <c:v>175.12629237357001</c:v>
                </c:pt>
                <c:pt idx="5">
                  <c:v>302.824156969619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Universal Beauty Prods Inc</c:v>
                </c:pt>
                <c:pt idx="5">
                  <c:v>Pbg</c:v>
                </c:pt>
              </c:strCache>
            </c:strRef>
          </c:cat>
          <c:val>
            <c:numRef>
              <c:f>Sheet1!$B$2:$B$7</c:f>
              <c:numCache>
                <c:formatCode>General</c:formatCode>
                <c:ptCount val="6"/>
                <c:pt idx="0">
                  <c:v>0.68783737576687554</c:v>
                </c:pt>
                <c:pt idx="1">
                  <c:v>0.18097371641078247</c:v>
                </c:pt>
                <c:pt idx="2">
                  <c:v>4.2128204910829088E-2</c:v>
                </c:pt>
                <c:pt idx="3">
                  <c:v>4.2010930536834044E-2</c:v>
                </c:pt>
                <c:pt idx="4">
                  <c:v>2.5361219201347384E-2</c:v>
                </c:pt>
                <c:pt idx="5">
                  <c:v>2.168586857922802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Universal Beauty Prods Inc</c:v>
                </c:pt>
                <c:pt idx="5">
                  <c:v>Pbg</c:v>
                </c:pt>
              </c:strCache>
            </c:strRef>
          </c:cat>
          <c:val>
            <c:numRef>
              <c:f>Sheet1!$C$2:$C$7</c:f>
              <c:numCache>
                <c:formatCode>General</c:formatCode>
                <c:ptCount val="6"/>
                <c:pt idx="0">
                  <c:v>0.59956236323851186</c:v>
                </c:pt>
                <c:pt idx="1">
                  <c:v>0.19091903719912465</c:v>
                </c:pt>
                <c:pt idx="2">
                  <c:v>8.1509846827133456E-2</c:v>
                </c:pt>
                <c:pt idx="3">
                  <c:v>5.8533916849015308E-2</c:v>
                </c:pt>
                <c:pt idx="4">
                  <c:v>3.0087527352297586E-2</c:v>
                </c:pt>
                <c:pt idx="5">
                  <c:v>3.884026258205688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Universal Beauty Prods Inc</c:v>
                </c:pt>
                <c:pt idx="5">
                  <c:v>Pbg</c:v>
                </c:pt>
              </c:strCache>
            </c:strRef>
          </c:cat>
          <c:val>
            <c:numRef>
              <c:f>Sheet1!$D$2:$D$7</c:f>
              <c:numCache>
                <c:formatCode>General</c:formatCode>
                <c:ptCount val="6"/>
                <c:pt idx="0">
                  <c:v>87.166296040550989</c:v>
                </c:pt>
                <c:pt idx="1">
                  <c:v>105.49545038118563</c:v>
                </c:pt>
                <c:pt idx="2">
                  <c:v>193.48046516499281</c:v>
                </c:pt>
                <c:pt idx="3">
                  <c:v>139.33020787933833</c:v>
                </c:pt>
                <c:pt idx="4">
                  <c:v>118.63596585569161</c:v>
                </c:pt>
                <c:pt idx="5">
                  <c:v>179.104020851903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B$2:$B$11</c:f>
              <c:numCache>
                <c:formatCode>General</c:formatCode>
                <c:ptCount val="10"/>
                <c:pt idx="0">
                  <c:v>0.56090594801346816</c:v>
                </c:pt>
                <c:pt idx="1">
                  <c:v>0.14437866093188914</c:v>
                </c:pt>
                <c:pt idx="2">
                  <c:v>0.10612175297548615</c:v>
                </c:pt>
                <c:pt idx="3">
                  <c:v>6.9762969705455508E-2</c:v>
                </c:pt>
                <c:pt idx="4">
                  <c:v>6.8740181063599012E-2</c:v>
                </c:pt>
                <c:pt idx="5">
                  <c:v>2.6237294475988257E-2</c:v>
                </c:pt>
                <c:pt idx="6">
                  <c:v>1.2821323280886886E-2</c:v>
                </c:pt>
                <c:pt idx="7">
                  <c:v>1.0724769328363122E-2</c:v>
                </c:pt>
                <c:pt idx="8">
                  <c:v>3.0064786487591966E-4</c:v>
                </c:pt>
                <c:pt idx="9">
                  <c:v>6.4523599877788155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C$2:$C$11</c:f>
              <c:numCache>
                <c:formatCode>General</c:formatCode>
                <c:ptCount val="10"/>
                <c:pt idx="0">
                  <c:v>0.43971327698726709</c:v>
                </c:pt>
                <c:pt idx="1">
                  <c:v>8.8905531186476483E-2</c:v>
                </c:pt>
                <c:pt idx="2">
                  <c:v>0.19171926821439936</c:v>
                </c:pt>
                <c:pt idx="3">
                  <c:v>9.5324703113297896E-2</c:v>
                </c:pt>
                <c:pt idx="4">
                  <c:v>0.11254948111693529</c:v>
                </c:pt>
                <c:pt idx="5">
                  <c:v>3.3486680218251672E-2</c:v>
                </c:pt>
                <c:pt idx="6">
                  <c:v>1.7224778003637444E-2</c:v>
                </c:pt>
                <c:pt idx="7">
                  <c:v>1.6903819407296374E-2</c:v>
                </c:pt>
                <c:pt idx="8">
                  <c:v>2.3536963731678497E-3</c:v>
                </c:pt>
                <c:pt idx="9">
                  <c:v>1.8187653792660656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D$2:$D$11</c:f>
              <c:numCache>
                <c:formatCode>General</c:formatCode>
                <c:ptCount val="10"/>
                <c:pt idx="0">
                  <c:v>78.393405979126641</c:v>
                </c:pt>
                <c:pt idx="1">
                  <c:v>61.578027260148779</c:v>
                </c:pt>
                <c:pt idx="2">
                  <c:v>180.65972605888447</c:v>
                </c:pt>
                <c:pt idx="3">
                  <c:v>136.64083326120712</c:v>
                </c:pt>
                <c:pt idx="4">
                  <c:v>163.7317204806364</c:v>
                </c:pt>
                <c:pt idx="5">
                  <c:v>127.63008110038892</c:v>
                </c:pt>
                <c:pt idx="6">
                  <c:v>134.34477570123292</c:v>
                </c:pt>
                <c:pt idx="7">
                  <c:v>157.61475971881194</c:v>
                </c:pt>
                <c:pt idx="8">
                  <c:v>782.87480077041073</c:v>
                </c:pt>
                <c:pt idx="9">
                  <c:v>28187.59930801945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B$2:$B$7</c:f>
              <c:numCache>
                <c:formatCode>General</c:formatCode>
                <c:ptCount val="6"/>
                <c:pt idx="0">
                  <c:v>0.64471932029990753</c:v>
                </c:pt>
                <c:pt idx="1">
                  <c:v>0.20469757345628167</c:v>
                </c:pt>
                <c:pt idx="2">
                  <c:v>5.2881543838262185E-2</c:v>
                </c:pt>
                <c:pt idx="3">
                  <c:v>4.4999654738848094E-2</c:v>
                </c:pt>
                <c:pt idx="4">
                  <c:v>3.1729960754940188E-2</c:v>
                </c:pt>
                <c:pt idx="5">
                  <c:v>2.09542997754583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C$2:$C$7</c:f>
              <c:numCache>
                <c:formatCode>General</c:formatCode>
                <c:ptCount val="6"/>
                <c:pt idx="0">
                  <c:v>0.59376316898440662</c:v>
                </c:pt>
                <c:pt idx="1">
                  <c:v>0.18246944795617323</c:v>
                </c:pt>
                <c:pt idx="2">
                  <c:v>9.1024020227559871E-2</c:v>
                </c:pt>
                <c:pt idx="3">
                  <c:v>6.911083017277693E-2</c:v>
                </c:pt>
                <c:pt idx="4">
                  <c:v>2.82343025705857E-2</c:v>
                </c:pt>
                <c:pt idx="5">
                  <c:v>3.455541508638846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D$2:$D$7</c:f>
              <c:numCache>
                <c:formatCode>General</c:formatCode>
                <c:ptCount val="6"/>
                <c:pt idx="0">
                  <c:v>92.096382144745192</c:v>
                </c:pt>
                <c:pt idx="1">
                  <c:v>89.140992184328056</c:v>
                </c:pt>
                <c:pt idx="2">
                  <c:v>172.12814456770812</c:v>
                </c:pt>
                <c:pt idx="3">
                  <c:v>153.58080095026531</c:v>
                </c:pt>
                <c:pt idx="4">
                  <c:v>88.983099565257945</c:v>
                </c:pt>
                <c:pt idx="5">
                  <c:v>164.9084696538497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2</c:f>
              <c:strCache>
                <c:ptCount val="341"/>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Bic</c:v>
                </c:pt>
                <c:pt idx="26">
                  <c:v>Gillette</c:v>
                </c:pt>
                <c:pt idx="27">
                  <c:v>Schick</c:v>
                </c:pt>
                <c:pt idx="28">
                  <c:v>Gillette</c:v>
                </c:pt>
                <c:pt idx="29">
                  <c:v>Gillette</c:v>
                </c:pt>
                <c:pt idx="30">
                  <c:v>Gillette</c:v>
                </c:pt>
                <c:pt idx="31">
                  <c:v>Bic</c:v>
                </c:pt>
                <c:pt idx="32">
                  <c:v>Schick</c:v>
                </c:pt>
                <c:pt idx="33">
                  <c:v>Dollar Shav</c:v>
                </c:pt>
                <c:pt idx="34">
                  <c:v>Equate</c:v>
                </c:pt>
                <c:pt idx="35">
                  <c:v>Dollar Shav</c:v>
                </c:pt>
                <c:pt idx="36">
                  <c:v>Gillette</c:v>
                </c:pt>
                <c:pt idx="37">
                  <c:v>Gillette</c:v>
                </c:pt>
                <c:pt idx="38">
                  <c:v>Schick</c:v>
                </c:pt>
                <c:pt idx="39">
                  <c:v>Schick</c:v>
                </c:pt>
                <c:pt idx="40">
                  <c:v>Harry's</c:v>
                </c:pt>
                <c:pt idx="41">
                  <c:v>Gillette</c:v>
                </c:pt>
                <c:pt idx="42">
                  <c:v>Gillette</c:v>
                </c:pt>
                <c:pt idx="43">
                  <c:v>Schick</c:v>
                </c:pt>
                <c:pt idx="44">
                  <c:v>Gillette</c:v>
                </c:pt>
                <c:pt idx="45">
                  <c:v>Bic</c:v>
                </c:pt>
                <c:pt idx="46">
                  <c:v>Gillette</c:v>
                </c:pt>
                <c:pt idx="47">
                  <c:v>Equate</c:v>
                </c:pt>
                <c:pt idx="48">
                  <c:v>Gillette</c:v>
                </c:pt>
                <c:pt idx="49">
                  <c:v>Gillette</c:v>
                </c:pt>
                <c:pt idx="50">
                  <c:v>Equate</c:v>
                </c:pt>
                <c:pt idx="51">
                  <c:v>Bic</c:v>
                </c:pt>
                <c:pt idx="52">
                  <c:v>Gillette</c:v>
                </c:pt>
                <c:pt idx="53">
                  <c:v>Bic</c:v>
                </c:pt>
                <c:pt idx="54">
                  <c:v>Equate</c:v>
                </c:pt>
                <c:pt idx="55">
                  <c:v>Schick</c:v>
                </c:pt>
                <c:pt idx="56">
                  <c:v>Bic</c:v>
                </c:pt>
                <c:pt idx="57">
                  <c:v>Bic</c:v>
                </c:pt>
                <c:pt idx="58">
                  <c:v>Bic</c:v>
                </c:pt>
                <c:pt idx="59">
                  <c:v>Van Der Hag</c:v>
                </c:pt>
                <c:pt idx="60">
                  <c:v>Equate</c:v>
                </c:pt>
                <c:pt idx="61">
                  <c:v>Gillette</c:v>
                </c:pt>
                <c:pt idx="62">
                  <c:v>Dollar Shav</c:v>
                </c:pt>
                <c:pt idx="63">
                  <c:v>Schick</c:v>
                </c:pt>
                <c:pt idx="64">
                  <c:v>Comfort 3</c:v>
                </c:pt>
                <c:pt idx="65">
                  <c:v>Gillette</c:v>
                </c:pt>
                <c:pt idx="66">
                  <c:v>Bic</c:v>
                </c:pt>
                <c:pt idx="67">
                  <c:v>Van Der Hag</c:v>
                </c:pt>
                <c:pt idx="68">
                  <c:v>Gillette</c:v>
                </c:pt>
                <c:pt idx="69">
                  <c:v>Gillette</c:v>
                </c:pt>
                <c:pt idx="70">
                  <c:v>Equate</c:v>
                </c:pt>
                <c:pt idx="71">
                  <c:v>Gillette</c:v>
                </c:pt>
                <c:pt idx="72">
                  <c:v>Comfort 3</c:v>
                </c:pt>
                <c:pt idx="73">
                  <c:v>Gillette</c:v>
                </c:pt>
                <c:pt idx="74">
                  <c:v>Equate</c:v>
                </c:pt>
                <c:pt idx="75">
                  <c:v>Harry's</c:v>
                </c:pt>
                <c:pt idx="76">
                  <c:v>Bic</c:v>
                </c:pt>
                <c:pt idx="77">
                  <c:v>Gillette</c:v>
                </c:pt>
                <c:pt idx="78">
                  <c:v>Gillette</c:v>
                </c:pt>
                <c:pt idx="79">
                  <c:v>Equate</c:v>
                </c:pt>
                <c:pt idx="80">
                  <c:v>Bic</c:v>
                </c:pt>
                <c:pt idx="81">
                  <c:v>Gillette</c:v>
                </c:pt>
                <c:pt idx="82">
                  <c:v>Bic</c:v>
                </c:pt>
                <c:pt idx="83">
                  <c:v>Gillette</c:v>
                </c:pt>
                <c:pt idx="84">
                  <c:v>Bic</c:v>
                </c:pt>
                <c:pt idx="85">
                  <c:v>Gillette</c:v>
                </c:pt>
                <c:pt idx="86">
                  <c:v>Schick</c:v>
                </c:pt>
                <c:pt idx="87">
                  <c:v>Gillette</c:v>
                </c:pt>
                <c:pt idx="88">
                  <c:v>Schick</c:v>
                </c:pt>
                <c:pt idx="89">
                  <c:v>Harry's</c:v>
                </c:pt>
                <c:pt idx="90">
                  <c:v>Gillette</c:v>
                </c:pt>
                <c:pt idx="91">
                  <c:v>Gillette</c:v>
                </c:pt>
                <c:pt idx="92">
                  <c:v>Bic</c:v>
                </c:pt>
                <c:pt idx="93">
                  <c:v>Bic</c:v>
                </c:pt>
                <c:pt idx="94">
                  <c:v>Gillette</c:v>
                </c:pt>
                <c:pt idx="95">
                  <c:v>Gillette</c:v>
                </c:pt>
                <c:pt idx="96">
                  <c:v>Gillette</c:v>
                </c:pt>
                <c:pt idx="97">
                  <c:v>Harry's</c:v>
                </c:pt>
                <c:pt idx="98">
                  <c:v>Gillette</c:v>
                </c:pt>
                <c:pt idx="99">
                  <c:v>Gillette</c:v>
                </c:pt>
                <c:pt idx="100">
                  <c:v>Bic</c:v>
                </c:pt>
                <c:pt idx="101">
                  <c:v>Gillette</c:v>
                </c:pt>
                <c:pt idx="102">
                  <c:v>Equate</c:v>
                </c:pt>
                <c:pt idx="103">
                  <c:v>Bic</c:v>
                </c:pt>
                <c:pt idx="104">
                  <c:v>Gillette</c:v>
                </c:pt>
                <c:pt idx="105">
                  <c:v>Gillette</c:v>
                </c:pt>
                <c:pt idx="106">
                  <c:v>Gillette</c:v>
                </c:pt>
                <c:pt idx="107">
                  <c:v>Schick</c:v>
                </c:pt>
                <c:pt idx="108">
                  <c:v>Schick</c:v>
                </c:pt>
                <c:pt idx="109">
                  <c:v>Bic</c:v>
                </c:pt>
                <c:pt idx="110">
                  <c:v>Gillette</c:v>
                </c:pt>
                <c:pt idx="111">
                  <c:v>Schick</c:v>
                </c:pt>
                <c:pt idx="112">
                  <c:v>Bic</c:v>
                </c:pt>
                <c:pt idx="113">
                  <c:v>Dollar Shav</c:v>
                </c:pt>
                <c:pt idx="114">
                  <c:v>Gillette</c:v>
                </c:pt>
                <c:pt idx="115">
                  <c:v>Bic</c:v>
                </c:pt>
                <c:pt idx="116">
                  <c:v>Gillette</c:v>
                </c:pt>
                <c:pt idx="117">
                  <c:v>Bic</c:v>
                </c:pt>
                <c:pt idx="118">
                  <c:v>Gillette</c:v>
                </c:pt>
                <c:pt idx="119">
                  <c:v>Gillette</c:v>
                </c:pt>
                <c:pt idx="120">
                  <c:v>Gillette</c:v>
                </c:pt>
                <c:pt idx="121">
                  <c:v>Harry's</c:v>
                </c:pt>
                <c:pt idx="122">
                  <c:v>Harry's</c:v>
                </c:pt>
                <c:pt idx="123">
                  <c:v>Gillette</c:v>
                </c:pt>
                <c:pt idx="124">
                  <c:v>Schick</c:v>
                </c:pt>
                <c:pt idx="125">
                  <c:v>Schick</c:v>
                </c:pt>
                <c:pt idx="126">
                  <c:v>Cremo</c:v>
                </c:pt>
                <c:pt idx="127">
                  <c:v>Cremo</c:v>
                </c:pt>
                <c:pt idx="128">
                  <c:v>Bic</c:v>
                </c:pt>
                <c:pt idx="129">
                  <c:v>Gillette</c:v>
                </c:pt>
                <c:pt idx="130">
                  <c:v>Comfort 3</c:v>
                </c:pt>
                <c:pt idx="131">
                  <c:v>Bic</c:v>
                </c:pt>
                <c:pt idx="132">
                  <c:v>Bic</c:v>
                </c:pt>
                <c:pt idx="133">
                  <c:v>Schick</c:v>
                </c:pt>
                <c:pt idx="134">
                  <c:v>Gillette</c:v>
                </c:pt>
                <c:pt idx="135">
                  <c:v>Harry's</c:v>
                </c:pt>
                <c:pt idx="136">
                  <c:v>Bic</c:v>
                </c:pt>
                <c:pt idx="137">
                  <c:v>Dollar Shav</c:v>
                </c:pt>
                <c:pt idx="138">
                  <c:v>Harry's</c:v>
                </c:pt>
                <c:pt idx="139">
                  <c:v>Gillette</c:v>
                </c:pt>
                <c:pt idx="140">
                  <c:v>Equate</c:v>
                </c:pt>
                <c:pt idx="141">
                  <c:v>Gillette</c:v>
                </c:pt>
                <c:pt idx="142">
                  <c:v>Dollar Shav</c:v>
                </c:pt>
                <c:pt idx="143">
                  <c:v>Gillette</c:v>
                </c:pt>
                <c:pt idx="144">
                  <c:v>Gillette</c:v>
                </c:pt>
                <c:pt idx="145">
                  <c:v>Schick</c:v>
                </c:pt>
                <c:pt idx="146">
                  <c:v>All Others</c:v>
                </c:pt>
                <c:pt idx="147">
                  <c:v>Dollar Shav</c:v>
                </c:pt>
                <c:pt idx="148">
                  <c:v>Schick</c:v>
                </c:pt>
                <c:pt idx="149">
                  <c:v>Harry's</c:v>
                </c:pt>
                <c:pt idx="150">
                  <c:v>Gillette</c:v>
                </c:pt>
                <c:pt idx="151">
                  <c:v>All Others</c:v>
                </c:pt>
                <c:pt idx="152">
                  <c:v>Gillette</c:v>
                </c:pt>
                <c:pt idx="153">
                  <c:v>Schick</c:v>
                </c:pt>
                <c:pt idx="154">
                  <c:v>Gillette</c:v>
                </c:pt>
                <c:pt idx="155">
                  <c:v>Dollar Shav</c:v>
                </c:pt>
                <c:pt idx="156">
                  <c:v>Equate</c:v>
                </c:pt>
                <c:pt idx="157">
                  <c:v>Van Der Hag</c:v>
                </c:pt>
                <c:pt idx="158">
                  <c:v>Gillette</c:v>
                </c:pt>
                <c:pt idx="159">
                  <c:v>Gillette</c:v>
                </c:pt>
                <c:pt idx="160">
                  <c:v>Gillette</c:v>
                </c:pt>
                <c:pt idx="161">
                  <c:v>Schick</c:v>
                </c:pt>
                <c:pt idx="162">
                  <c:v>Schick</c:v>
                </c:pt>
                <c:pt idx="163">
                  <c:v>Harry's</c:v>
                </c:pt>
                <c:pt idx="164">
                  <c:v>Gillette</c:v>
                </c:pt>
                <c:pt idx="165">
                  <c:v>Comfort 3</c:v>
                </c:pt>
                <c:pt idx="166">
                  <c:v>Schick</c:v>
                </c:pt>
                <c:pt idx="167">
                  <c:v>Gillette</c:v>
                </c:pt>
                <c:pt idx="168">
                  <c:v>Equate</c:v>
                </c:pt>
                <c:pt idx="169">
                  <c:v>Gillette</c:v>
                </c:pt>
                <c:pt idx="170">
                  <c:v>Schick</c:v>
                </c:pt>
                <c:pt idx="171">
                  <c:v>Gillette</c:v>
                </c:pt>
                <c:pt idx="172">
                  <c:v>Dollar Shav</c:v>
                </c:pt>
                <c:pt idx="173">
                  <c:v>Schick</c:v>
                </c:pt>
                <c:pt idx="174">
                  <c:v>Gillette</c:v>
                </c:pt>
                <c:pt idx="175">
                  <c:v>Gillette</c:v>
                </c:pt>
                <c:pt idx="176">
                  <c:v>Gillette</c:v>
                </c:pt>
                <c:pt idx="177">
                  <c:v>Cremo</c:v>
                </c:pt>
                <c:pt idx="178">
                  <c:v>Gillette</c:v>
                </c:pt>
                <c:pt idx="179">
                  <c:v>Bic</c:v>
                </c:pt>
                <c:pt idx="180">
                  <c:v>Cremo</c:v>
                </c:pt>
                <c:pt idx="181">
                  <c:v>Schick</c:v>
                </c:pt>
                <c:pt idx="182">
                  <c:v>Gillette</c:v>
                </c:pt>
                <c:pt idx="183">
                  <c:v>Gillette</c:v>
                </c:pt>
                <c:pt idx="184">
                  <c:v>Bic</c:v>
                </c:pt>
                <c:pt idx="185">
                  <c:v>Gillette</c:v>
                </c:pt>
                <c:pt idx="186">
                  <c:v>Gillette</c:v>
                </c:pt>
                <c:pt idx="187">
                  <c:v>Harry's</c:v>
                </c:pt>
                <c:pt idx="188">
                  <c:v>Schick</c:v>
                </c:pt>
                <c:pt idx="189">
                  <c:v>Harry's</c:v>
                </c:pt>
                <c:pt idx="190">
                  <c:v>Gillette</c:v>
                </c:pt>
                <c:pt idx="191">
                  <c:v>Schick</c:v>
                </c:pt>
                <c:pt idx="192">
                  <c:v>Schick</c:v>
                </c:pt>
                <c:pt idx="193">
                  <c:v>Schick</c:v>
                </c:pt>
                <c:pt idx="194">
                  <c:v>Schick</c:v>
                </c:pt>
                <c:pt idx="195">
                  <c:v>Gillette</c:v>
                </c:pt>
                <c:pt idx="196">
                  <c:v>Gillette</c:v>
                </c:pt>
                <c:pt idx="197">
                  <c:v>Dollar Shav</c:v>
                </c:pt>
                <c:pt idx="198">
                  <c:v>Bic</c:v>
                </c:pt>
                <c:pt idx="199">
                  <c:v>Schick</c:v>
                </c:pt>
                <c:pt idx="200">
                  <c:v>Unilever: A</c:v>
                </c:pt>
                <c:pt idx="201">
                  <c:v>Schick</c:v>
                </c:pt>
                <c:pt idx="202">
                  <c:v>Gillette</c:v>
                </c:pt>
                <c:pt idx="203">
                  <c:v>Gillette</c:v>
                </c:pt>
                <c:pt idx="204">
                  <c:v>Bic</c:v>
                </c:pt>
                <c:pt idx="205">
                  <c:v>Van Der Hag</c:v>
                </c:pt>
                <c:pt idx="206">
                  <c:v>Schick</c:v>
                </c:pt>
                <c:pt idx="207">
                  <c:v>Schick</c:v>
                </c:pt>
                <c:pt idx="208">
                  <c:v>Equate</c:v>
                </c:pt>
                <c:pt idx="209">
                  <c:v>Bic</c:v>
                </c:pt>
                <c:pt idx="210">
                  <c:v>Gillette</c:v>
                </c:pt>
                <c:pt idx="211">
                  <c:v>Equate</c:v>
                </c:pt>
                <c:pt idx="212">
                  <c:v>Schick</c:v>
                </c:pt>
                <c:pt idx="213">
                  <c:v>Dollar Shav</c:v>
                </c:pt>
                <c:pt idx="214">
                  <c:v>Schick</c:v>
                </c:pt>
                <c:pt idx="215">
                  <c:v>Gillette</c:v>
                </c:pt>
                <c:pt idx="216">
                  <c:v>Schick</c:v>
                </c:pt>
                <c:pt idx="217">
                  <c:v>Bic</c:v>
                </c:pt>
                <c:pt idx="218">
                  <c:v>Gillette</c:v>
                </c:pt>
                <c:pt idx="219">
                  <c:v>Schick</c:v>
                </c:pt>
                <c:pt idx="220">
                  <c:v>Schick</c:v>
                </c:pt>
                <c:pt idx="221">
                  <c:v>Schick</c:v>
                </c:pt>
                <c:pt idx="222">
                  <c:v>Gillette</c:v>
                </c:pt>
                <c:pt idx="223">
                  <c:v>Gillette</c:v>
                </c:pt>
                <c:pt idx="224">
                  <c:v>Edgewell Pe</c:v>
                </c:pt>
                <c:pt idx="225">
                  <c:v>Gillette</c:v>
                </c:pt>
                <c:pt idx="226">
                  <c:v>Gillette</c:v>
                </c:pt>
                <c:pt idx="227">
                  <c:v>Gillette</c:v>
                </c:pt>
                <c:pt idx="228">
                  <c:v>Van Der Hag</c:v>
                </c:pt>
                <c:pt idx="229">
                  <c:v>Bic</c:v>
                </c:pt>
                <c:pt idx="230">
                  <c:v>Gillette</c:v>
                </c:pt>
                <c:pt idx="231">
                  <c:v>Bic</c:v>
                </c:pt>
                <c:pt idx="232">
                  <c:v>Schick</c:v>
                </c:pt>
                <c:pt idx="233">
                  <c:v>Bic</c:v>
                </c:pt>
                <c:pt idx="234">
                  <c:v>Schick</c:v>
                </c:pt>
                <c:pt idx="235">
                  <c:v>Gillette</c:v>
                </c:pt>
                <c:pt idx="236">
                  <c:v>Gillette</c:v>
                </c:pt>
                <c:pt idx="237">
                  <c:v>Schick</c:v>
                </c:pt>
                <c:pt idx="238">
                  <c:v>Equate</c:v>
                </c:pt>
                <c:pt idx="239">
                  <c:v>Gillette</c:v>
                </c:pt>
                <c:pt idx="240">
                  <c:v>Gillette</c:v>
                </c:pt>
                <c:pt idx="241">
                  <c:v>Dollar Shav</c:v>
                </c:pt>
                <c:pt idx="242">
                  <c:v>Gillette</c:v>
                </c:pt>
                <c:pt idx="243">
                  <c:v>Bic</c:v>
                </c:pt>
                <c:pt idx="244">
                  <c:v>Gillette</c:v>
                </c:pt>
                <c:pt idx="245">
                  <c:v>Gillette</c:v>
                </c:pt>
                <c:pt idx="246">
                  <c:v>Gillette</c:v>
                </c:pt>
                <c:pt idx="247">
                  <c:v>Bic</c:v>
                </c:pt>
                <c:pt idx="248">
                  <c:v>Equate</c:v>
                </c:pt>
                <c:pt idx="249">
                  <c:v>Equate</c:v>
                </c:pt>
                <c:pt idx="250">
                  <c:v>Equate</c:v>
                </c:pt>
                <c:pt idx="251">
                  <c:v>Bic</c:v>
                </c:pt>
                <c:pt idx="252">
                  <c:v>Gillette</c:v>
                </c:pt>
                <c:pt idx="253">
                  <c:v>Bic</c:v>
                </c:pt>
                <c:pt idx="254">
                  <c:v>Gillette</c:v>
                </c:pt>
                <c:pt idx="255">
                  <c:v>Schick</c:v>
                </c:pt>
                <c:pt idx="256">
                  <c:v>Gillette</c:v>
                </c:pt>
                <c:pt idx="257">
                  <c:v>Schick</c:v>
                </c:pt>
                <c:pt idx="258">
                  <c:v>Gillette</c:v>
                </c:pt>
                <c:pt idx="259">
                  <c:v>Schick</c:v>
                </c:pt>
                <c:pt idx="260">
                  <c:v>Equate</c:v>
                </c:pt>
                <c:pt idx="261">
                  <c:v>Bic</c:v>
                </c:pt>
                <c:pt idx="262">
                  <c:v>Schick</c:v>
                </c:pt>
                <c:pt idx="263">
                  <c:v>Edgewell Pe</c:v>
                </c:pt>
                <c:pt idx="264">
                  <c:v>Schick</c:v>
                </c:pt>
                <c:pt idx="265">
                  <c:v>Gillette</c:v>
                </c:pt>
                <c:pt idx="266">
                  <c:v>Gillette</c:v>
                </c:pt>
                <c:pt idx="267">
                  <c:v>Bic</c:v>
                </c:pt>
                <c:pt idx="268">
                  <c:v>Schick</c:v>
                </c:pt>
                <c:pt idx="269">
                  <c:v>Schick</c:v>
                </c:pt>
                <c:pt idx="270">
                  <c:v>All Others</c:v>
                </c:pt>
                <c:pt idx="271">
                  <c:v>Gillette</c:v>
                </c:pt>
                <c:pt idx="272">
                  <c:v>Gillette</c:v>
                </c:pt>
                <c:pt idx="273">
                  <c:v>Gillette</c:v>
                </c:pt>
                <c:pt idx="274">
                  <c:v>Schick</c:v>
                </c:pt>
                <c:pt idx="275">
                  <c:v>Schick</c:v>
                </c:pt>
                <c:pt idx="276">
                  <c:v>Equate</c:v>
                </c:pt>
                <c:pt idx="277">
                  <c:v>Harry's</c:v>
                </c:pt>
                <c:pt idx="278">
                  <c:v>Schick</c:v>
                </c:pt>
                <c:pt idx="279">
                  <c:v>Equate</c:v>
                </c:pt>
                <c:pt idx="280">
                  <c:v>Schick</c:v>
                </c:pt>
                <c:pt idx="281">
                  <c:v>Gillette</c:v>
                </c:pt>
                <c:pt idx="282">
                  <c:v>Schick</c:v>
                </c:pt>
                <c:pt idx="283">
                  <c:v>Gillette</c:v>
                </c:pt>
                <c:pt idx="284">
                  <c:v>Schick</c:v>
                </c:pt>
                <c:pt idx="285">
                  <c:v>Equate</c:v>
                </c:pt>
                <c:pt idx="286">
                  <c:v>Barbasol</c:v>
                </c:pt>
                <c:pt idx="287">
                  <c:v>Edgewell Pe</c:v>
                </c:pt>
                <c:pt idx="288">
                  <c:v>Gillette</c:v>
                </c:pt>
                <c:pt idx="289">
                  <c:v>Schick</c:v>
                </c:pt>
                <c:pt idx="290">
                  <c:v>Gillette</c:v>
                </c:pt>
                <c:pt idx="291">
                  <c:v>Bic</c:v>
                </c:pt>
                <c:pt idx="292">
                  <c:v>Equate</c:v>
                </c:pt>
                <c:pt idx="293">
                  <c:v>Gillette</c:v>
                </c:pt>
                <c:pt idx="294">
                  <c:v>Bic</c:v>
                </c:pt>
                <c:pt idx="295">
                  <c:v>Schick</c:v>
                </c:pt>
                <c:pt idx="296">
                  <c:v>Gillette</c:v>
                </c:pt>
                <c:pt idx="297">
                  <c:v>Barbasol</c:v>
                </c:pt>
                <c:pt idx="298">
                  <c:v>Schick</c:v>
                </c:pt>
                <c:pt idx="299">
                  <c:v>Schick</c:v>
                </c:pt>
                <c:pt idx="300">
                  <c:v>Gillette</c:v>
                </c:pt>
                <c:pt idx="301">
                  <c:v>Edgewell Pe</c:v>
                </c:pt>
                <c:pt idx="302">
                  <c:v>Schick</c:v>
                </c:pt>
                <c:pt idx="303">
                  <c:v>Schick</c:v>
                </c:pt>
                <c:pt idx="304">
                  <c:v>Equate</c:v>
                </c:pt>
                <c:pt idx="305">
                  <c:v>Personna</c:v>
                </c:pt>
                <c:pt idx="306">
                  <c:v>Equate</c:v>
                </c:pt>
                <c:pt idx="307">
                  <c:v>Gillette</c:v>
                </c:pt>
                <c:pt idx="308">
                  <c:v>Gillette</c:v>
                </c:pt>
                <c:pt idx="309">
                  <c:v>Gillette</c:v>
                </c:pt>
                <c:pt idx="310">
                  <c:v>Gillette</c:v>
                </c:pt>
                <c:pt idx="311">
                  <c:v>Dollar Shav</c:v>
                </c:pt>
                <c:pt idx="312">
                  <c:v>Dollar Shav</c:v>
                </c:pt>
                <c:pt idx="313">
                  <c:v>Gillette</c:v>
                </c:pt>
                <c:pt idx="314">
                  <c:v>Personna</c:v>
                </c:pt>
                <c:pt idx="315">
                  <c:v>Bic</c:v>
                </c:pt>
                <c:pt idx="316">
                  <c:v>Schick</c:v>
                </c:pt>
                <c:pt idx="317">
                  <c:v>Bic</c:v>
                </c:pt>
                <c:pt idx="318">
                  <c:v>Dollar Shav</c:v>
                </c:pt>
                <c:pt idx="319">
                  <c:v>Unilever: A</c:v>
                </c:pt>
                <c:pt idx="320">
                  <c:v>Gillette</c:v>
                </c:pt>
                <c:pt idx="321">
                  <c:v>Schick</c:v>
                </c:pt>
                <c:pt idx="322">
                  <c:v>Equate</c:v>
                </c:pt>
                <c:pt idx="323">
                  <c:v>Schick</c:v>
                </c:pt>
                <c:pt idx="324">
                  <c:v>Schick</c:v>
                </c:pt>
                <c:pt idx="325">
                  <c:v>Gillette</c:v>
                </c:pt>
                <c:pt idx="326">
                  <c:v>Bic</c:v>
                </c:pt>
                <c:pt idx="327">
                  <c:v>Schick</c:v>
                </c:pt>
                <c:pt idx="328">
                  <c:v>Schick</c:v>
                </c:pt>
                <c:pt idx="329">
                  <c:v>All Others</c:v>
                </c:pt>
                <c:pt idx="330">
                  <c:v>Procter &amp; G</c:v>
                </c:pt>
                <c:pt idx="331">
                  <c:v>Gillette</c:v>
                </c:pt>
                <c:pt idx="332">
                  <c:v>Gillette</c:v>
                </c:pt>
                <c:pt idx="333">
                  <c:v>Gillette</c:v>
                </c:pt>
                <c:pt idx="334">
                  <c:v>Gillette</c:v>
                </c:pt>
                <c:pt idx="335">
                  <c:v>Gillette</c:v>
                </c:pt>
                <c:pt idx="336">
                  <c:v>Private Lab</c:v>
                </c:pt>
                <c:pt idx="337">
                  <c:v>Gillette</c:v>
                </c:pt>
                <c:pt idx="338">
                  <c:v>Gillette</c:v>
                </c:pt>
                <c:pt idx="339">
                  <c:v>Gillette</c:v>
                </c:pt>
                <c:pt idx="340">
                  <c:v>Schick</c:v>
                </c:pt>
              </c:strCache>
            </c:strRef>
          </c:cat>
          <c:val>
            <c:numRef>
              <c:f>Sheet1!$B$2:$B$342</c:f>
              <c:numCache>
                <c:formatCode>General</c:formatCode>
                <c:ptCount val="341"/>
                <c:pt idx="0">
                  <c:v>0.98599999999999999</c:v>
                </c:pt>
                <c:pt idx="1">
                  <c:v>0.98799999999999999</c:v>
                </c:pt>
                <c:pt idx="2">
                  <c:v>0.98499999999999999</c:v>
                </c:pt>
                <c:pt idx="3">
                  <c:v>0.92900000000000005</c:v>
                </c:pt>
                <c:pt idx="4">
                  <c:v>0.92100000000000004</c:v>
                </c:pt>
                <c:pt idx="5">
                  <c:v>0.86099999999999999</c:v>
                </c:pt>
                <c:pt idx="6">
                  <c:v>0.61899999999999999</c:v>
                </c:pt>
                <c:pt idx="7">
                  <c:v>0.91</c:v>
                </c:pt>
                <c:pt idx="8">
                  <c:v>0.94899999999999995</c:v>
                </c:pt>
                <c:pt idx="9">
                  <c:v>0.82599999999999996</c:v>
                </c:pt>
                <c:pt idx="10">
                  <c:v>0.97499999999999998</c:v>
                </c:pt>
                <c:pt idx="11">
                  <c:v>0.98499999999999999</c:v>
                </c:pt>
                <c:pt idx="12">
                  <c:v>0.83799999999999997</c:v>
                </c:pt>
                <c:pt idx="13">
                  <c:v>0.78200000000000003</c:v>
                </c:pt>
                <c:pt idx="14">
                  <c:v>0.84899999999999998</c:v>
                </c:pt>
                <c:pt idx="15">
                  <c:v>0.94199999999999995</c:v>
                </c:pt>
                <c:pt idx="16">
                  <c:v>0.89700000000000002</c:v>
                </c:pt>
                <c:pt idx="17">
                  <c:v>0.85199999999999998</c:v>
                </c:pt>
                <c:pt idx="18">
                  <c:v>0.92100000000000004</c:v>
                </c:pt>
                <c:pt idx="19">
                  <c:v>0.96299999999999997</c:v>
                </c:pt>
                <c:pt idx="20">
                  <c:v>0.626</c:v>
                </c:pt>
                <c:pt idx="21">
                  <c:v>0.73499999999999999</c:v>
                </c:pt>
                <c:pt idx="22">
                  <c:v>0.65300000000000002</c:v>
                </c:pt>
                <c:pt idx="23">
                  <c:v>0.95</c:v>
                </c:pt>
                <c:pt idx="24">
                  <c:v>0.98699999999999999</c:v>
                </c:pt>
                <c:pt idx="25">
                  <c:v>0.94699999999999995</c:v>
                </c:pt>
                <c:pt idx="26">
                  <c:v>0.80400000000000005</c:v>
                </c:pt>
                <c:pt idx="27">
                  <c:v>0.78500000000000003</c:v>
                </c:pt>
                <c:pt idx="28">
                  <c:v>0.66500000000000004</c:v>
                </c:pt>
                <c:pt idx="29">
                  <c:v>0.63200000000000001</c:v>
                </c:pt>
                <c:pt idx="30">
                  <c:v>0.73799999999999999</c:v>
                </c:pt>
                <c:pt idx="31">
                  <c:v>0.81799999999999995</c:v>
                </c:pt>
                <c:pt idx="32">
                  <c:v>0.93899999999999995</c:v>
                </c:pt>
                <c:pt idx="33">
                  <c:v>0.86</c:v>
                </c:pt>
                <c:pt idx="34">
                  <c:v>0.84499999999999997</c:v>
                </c:pt>
                <c:pt idx="35">
                  <c:v>0.89100000000000001</c:v>
                </c:pt>
                <c:pt idx="36">
                  <c:v>0.60599999999999998</c:v>
                </c:pt>
                <c:pt idx="37">
                  <c:v>0.43099999999999999</c:v>
                </c:pt>
                <c:pt idx="38">
                  <c:v>0.85699999999999998</c:v>
                </c:pt>
                <c:pt idx="39">
                  <c:v>0.85199999999999998</c:v>
                </c:pt>
                <c:pt idx="40">
                  <c:v>0.83399999999999996</c:v>
                </c:pt>
                <c:pt idx="41">
                  <c:v>0.79300000000000004</c:v>
                </c:pt>
                <c:pt idx="42">
                  <c:v>0.54700000000000004</c:v>
                </c:pt>
                <c:pt idx="43">
                  <c:v>0.95</c:v>
                </c:pt>
                <c:pt idx="44">
                  <c:v>0.60899999999999999</c:v>
                </c:pt>
                <c:pt idx="45">
                  <c:v>0.59899999999999998</c:v>
                </c:pt>
                <c:pt idx="46">
                  <c:v>0.66600000000000004</c:v>
                </c:pt>
                <c:pt idx="47">
                  <c:v>0.98799999999999999</c:v>
                </c:pt>
                <c:pt idx="48">
                  <c:v>0.89100000000000001</c:v>
                </c:pt>
                <c:pt idx="49">
                  <c:v>0.82399999999999995</c:v>
                </c:pt>
                <c:pt idx="50">
                  <c:v>0.91100000000000003</c:v>
                </c:pt>
                <c:pt idx="51">
                  <c:v>0.78200000000000003</c:v>
                </c:pt>
                <c:pt idx="52">
                  <c:v>0.64600000000000002</c:v>
                </c:pt>
                <c:pt idx="53">
                  <c:v>0.88</c:v>
                </c:pt>
                <c:pt idx="54">
                  <c:v>0.95899999999999996</c:v>
                </c:pt>
                <c:pt idx="55">
                  <c:v>0.44900000000000001</c:v>
                </c:pt>
                <c:pt idx="56">
                  <c:v>0.89700000000000002</c:v>
                </c:pt>
                <c:pt idx="57">
                  <c:v>0.89600000000000002</c:v>
                </c:pt>
                <c:pt idx="58">
                  <c:v>0.95299999999999996</c:v>
                </c:pt>
                <c:pt idx="59">
                  <c:v>0.60699999999999998</c:v>
                </c:pt>
                <c:pt idx="60">
                  <c:v>0.93799999999999994</c:v>
                </c:pt>
                <c:pt idx="61">
                  <c:v>0.63400000000000001</c:v>
                </c:pt>
                <c:pt idx="62">
                  <c:v>0.56200000000000006</c:v>
                </c:pt>
                <c:pt idx="63">
                  <c:v>0.70099999999999996</c:v>
                </c:pt>
                <c:pt idx="64">
                  <c:v>0.875</c:v>
                </c:pt>
                <c:pt idx="65">
                  <c:v>0.61299999999999999</c:v>
                </c:pt>
                <c:pt idx="66">
                  <c:v>0.877</c:v>
                </c:pt>
                <c:pt idx="67">
                  <c:v>0.873</c:v>
                </c:pt>
                <c:pt idx="68">
                  <c:v>0.63200000000000001</c:v>
                </c:pt>
                <c:pt idx="69">
                  <c:v>0.54500000000000004</c:v>
                </c:pt>
                <c:pt idx="70">
                  <c:v>0.751</c:v>
                </c:pt>
                <c:pt idx="71">
                  <c:v>0.65200000000000002</c:v>
                </c:pt>
                <c:pt idx="72">
                  <c:v>0.621</c:v>
                </c:pt>
                <c:pt idx="73">
                  <c:v>0.65100000000000002</c:v>
                </c:pt>
                <c:pt idx="74">
                  <c:v>0.58399999999999996</c:v>
                </c:pt>
                <c:pt idx="75">
                  <c:v>0.52700000000000002</c:v>
                </c:pt>
                <c:pt idx="76">
                  <c:v>0.80500000000000005</c:v>
                </c:pt>
                <c:pt idx="77">
                  <c:v>0.32700000000000001</c:v>
                </c:pt>
                <c:pt idx="78">
                  <c:v>0.77700000000000002</c:v>
                </c:pt>
                <c:pt idx="79">
                  <c:v>0.97799999999999998</c:v>
                </c:pt>
                <c:pt idx="80">
                  <c:v>0.82199999999999995</c:v>
                </c:pt>
                <c:pt idx="81">
                  <c:v>0.433</c:v>
                </c:pt>
                <c:pt idx="82">
                  <c:v>0.65400000000000003</c:v>
                </c:pt>
                <c:pt idx="83">
                  <c:v>0.38600000000000001</c:v>
                </c:pt>
                <c:pt idx="84">
                  <c:v>0.76</c:v>
                </c:pt>
                <c:pt idx="85">
                  <c:v>0.46600000000000003</c:v>
                </c:pt>
                <c:pt idx="86">
                  <c:v>0.79400000000000004</c:v>
                </c:pt>
                <c:pt idx="87">
                  <c:v>0.19800000000000001</c:v>
                </c:pt>
                <c:pt idx="88">
                  <c:v>0.75900000000000001</c:v>
                </c:pt>
                <c:pt idx="89">
                  <c:v>0.23699999999999999</c:v>
                </c:pt>
                <c:pt idx="90">
                  <c:v>0.57299999999999995</c:v>
                </c:pt>
                <c:pt idx="91">
                  <c:v>0.433</c:v>
                </c:pt>
                <c:pt idx="92">
                  <c:v>0.80200000000000005</c:v>
                </c:pt>
                <c:pt idx="93">
                  <c:v>0.52400000000000002</c:v>
                </c:pt>
                <c:pt idx="94">
                  <c:v>0.28699999999999998</c:v>
                </c:pt>
                <c:pt idx="95">
                  <c:v>0.68200000000000005</c:v>
                </c:pt>
                <c:pt idx="96">
                  <c:v>0.16900000000000001</c:v>
                </c:pt>
                <c:pt idx="97">
                  <c:v>0.7</c:v>
                </c:pt>
                <c:pt idx="98">
                  <c:v>0.73399999999999999</c:v>
                </c:pt>
                <c:pt idx="99">
                  <c:v>0.72199999999999998</c:v>
                </c:pt>
                <c:pt idx="100">
                  <c:v>0.45500000000000002</c:v>
                </c:pt>
                <c:pt idx="101">
                  <c:v>0.61199999999999999</c:v>
                </c:pt>
                <c:pt idx="102">
                  <c:v>0.68899999999999995</c:v>
                </c:pt>
                <c:pt idx="103">
                  <c:v>0.753</c:v>
                </c:pt>
                <c:pt idx="104">
                  <c:v>0.35</c:v>
                </c:pt>
                <c:pt idx="105">
                  <c:v>0.54400000000000004</c:v>
                </c:pt>
                <c:pt idx="106">
                  <c:v>0.42899999999999999</c:v>
                </c:pt>
                <c:pt idx="107">
                  <c:v>0.84399999999999997</c:v>
                </c:pt>
                <c:pt idx="108">
                  <c:v>0.89600000000000002</c:v>
                </c:pt>
                <c:pt idx="109">
                  <c:v>0.81699999999999995</c:v>
                </c:pt>
                <c:pt idx="110">
                  <c:v>0.59599999999999997</c:v>
                </c:pt>
                <c:pt idx="111">
                  <c:v>0.63400000000000001</c:v>
                </c:pt>
                <c:pt idx="112">
                  <c:v>0.72199999999999998</c:v>
                </c:pt>
                <c:pt idx="113">
                  <c:v>0.63</c:v>
                </c:pt>
                <c:pt idx="114">
                  <c:v>0.30099999999999999</c:v>
                </c:pt>
                <c:pt idx="115">
                  <c:v>0.7</c:v>
                </c:pt>
                <c:pt idx="116">
                  <c:v>0.53400000000000003</c:v>
                </c:pt>
                <c:pt idx="117">
                  <c:v>0.498</c:v>
                </c:pt>
                <c:pt idx="118">
                  <c:v>0.32300000000000001</c:v>
                </c:pt>
                <c:pt idx="119">
                  <c:v>0.38600000000000001</c:v>
                </c:pt>
                <c:pt idx="120">
                  <c:v>0.16800000000000001</c:v>
                </c:pt>
                <c:pt idx="121">
                  <c:v>0.65500000000000003</c:v>
                </c:pt>
                <c:pt idx="122">
                  <c:v>0.52500000000000002</c:v>
                </c:pt>
                <c:pt idx="123">
                  <c:v>0.17499999999999999</c:v>
                </c:pt>
                <c:pt idx="124">
                  <c:v>5.6000000000000001E-2</c:v>
                </c:pt>
                <c:pt idx="125">
                  <c:v>4.7E-2</c:v>
                </c:pt>
                <c:pt idx="126">
                  <c:v>0.11700000000000001</c:v>
                </c:pt>
                <c:pt idx="127">
                  <c:v>6.4000000000000001E-2</c:v>
                </c:pt>
                <c:pt idx="128">
                  <c:v>3.5999999999999997E-2</c:v>
                </c:pt>
                <c:pt idx="129">
                  <c:v>0.32200000000000001</c:v>
                </c:pt>
                <c:pt idx="130">
                  <c:v>1.7999999999999999E-2</c:v>
                </c:pt>
                <c:pt idx="131">
                  <c:v>8.9999999999999993E-3</c:v>
                </c:pt>
                <c:pt idx="132">
                  <c:v>8.9999999999999993E-3</c:v>
                </c:pt>
                <c:pt idx="133">
                  <c:v>0.01</c:v>
                </c:pt>
                <c:pt idx="134">
                  <c:v>0.01</c:v>
                </c:pt>
                <c:pt idx="135">
                  <c:v>0.01</c:v>
                </c:pt>
                <c:pt idx="136">
                  <c:v>1.0999999999999999E-2</c:v>
                </c:pt>
                <c:pt idx="137">
                  <c:v>0.01</c:v>
                </c:pt>
                <c:pt idx="138">
                  <c:v>8.9999999999999993E-3</c:v>
                </c:pt>
                <c:pt idx="139">
                  <c:v>8.9999999999999993E-3</c:v>
                </c:pt>
                <c:pt idx="140">
                  <c:v>1.2E-2</c:v>
                </c:pt>
                <c:pt idx="141">
                  <c:v>8.9999999999999993E-3</c:v>
                </c:pt>
                <c:pt idx="142">
                  <c:v>0.01</c:v>
                </c:pt>
                <c:pt idx="143">
                  <c:v>0.01</c:v>
                </c:pt>
                <c:pt idx="144">
                  <c:v>0.01</c:v>
                </c:pt>
                <c:pt idx="145">
                  <c:v>0.01</c:v>
                </c:pt>
                <c:pt idx="146">
                  <c:v>8.9999999999999993E-3</c:v>
                </c:pt>
                <c:pt idx="147">
                  <c:v>0.01</c:v>
                </c:pt>
                <c:pt idx="148">
                  <c:v>8.9999999999999993E-3</c:v>
                </c:pt>
                <c:pt idx="149">
                  <c:v>8.9999999999999993E-3</c:v>
                </c:pt>
                <c:pt idx="150">
                  <c:v>8.9999999999999993E-3</c:v>
                </c:pt>
                <c:pt idx="151">
                  <c:v>0.01</c:v>
                </c:pt>
                <c:pt idx="152">
                  <c:v>0.01</c:v>
                </c:pt>
                <c:pt idx="153">
                  <c:v>8.9999999999999993E-3</c:v>
                </c:pt>
                <c:pt idx="154">
                  <c:v>0.01</c:v>
                </c:pt>
                <c:pt idx="155">
                  <c:v>0.01</c:v>
                </c:pt>
                <c:pt idx="156">
                  <c:v>0.01</c:v>
                </c:pt>
                <c:pt idx="157">
                  <c:v>0.01</c:v>
                </c:pt>
                <c:pt idx="158">
                  <c:v>8.9999999999999993E-3</c:v>
                </c:pt>
                <c:pt idx="159">
                  <c:v>8.9999999999999993E-3</c:v>
                </c:pt>
                <c:pt idx="160">
                  <c:v>0.01</c:v>
                </c:pt>
                <c:pt idx="161">
                  <c:v>0.01</c:v>
                </c:pt>
                <c:pt idx="162">
                  <c:v>0.01</c:v>
                </c:pt>
                <c:pt idx="163">
                  <c:v>8.9999999999999993E-3</c:v>
                </c:pt>
                <c:pt idx="164">
                  <c:v>0.01</c:v>
                </c:pt>
                <c:pt idx="165">
                  <c:v>8.9999999999999993E-3</c:v>
                </c:pt>
                <c:pt idx="166">
                  <c:v>0.01</c:v>
                </c:pt>
                <c:pt idx="167">
                  <c:v>8.9999999999999993E-3</c:v>
                </c:pt>
                <c:pt idx="168">
                  <c:v>0.01</c:v>
                </c:pt>
                <c:pt idx="169">
                  <c:v>0.01</c:v>
                </c:pt>
                <c:pt idx="170">
                  <c:v>8.9999999999999993E-3</c:v>
                </c:pt>
                <c:pt idx="171">
                  <c:v>8.9999999999999993E-3</c:v>
                </c:pt>
                <c:pt idx="172">
                  <c:v>8.9999999999999993E-3</c:v>
                </c:pt>
                <c:pt idx="173">
                  <c:v>8.9999999999999993E-3</c:v>
                </c:pt>
                <c:pt idx="174">
                  <c:v>8.9999999999999993E-3</c:v>
                </c:pt>
                <c:pt idx="175">
                  <c:v>8.9999999999999993E-3</c:v>
                </c:pt>
                <c:pt idx="176">
                  <c:v>0.01</c:v>
                </c:pt>
                <c:pt idx="177">
                  <c:v>8.9999999999999993E-3</c:v>
                </c:pt>
                <c:pt idx="178">
                  <c:v>8.9999999999999993E-3</c:v>
                </c:pt>
                <c:pt idx="179">
                  <c:v>8.9999999999999993E-3</c:v>
                </c:pt>
                <c:pt idx="180">
                  <c:v>8.9999999999999993E-3</c:v>
                </c:pt>
                <c:pt idx="181">
                  <c:v>8.9999999999999993E-3</c:v>
                </c:pt>
                <c:pt idx="182">
                  <c:v>8.9999999999999993E-3</c:v>
                </c:pt>
                <c:pt idx="183">
                  <c:v>8.9999999999999993E-3</c:v>
                </c:pt>
                <c:pt idx="184">
                  <c:v>8.9999999999999993E-3</c:v>
                </c:pt>
                <c:pt idx="185">
                  <c:v>8.9999999999999993E-3</c:v>
                </c:pt>
                <c:pt idx="186">
                  <c:v>8.9999999999999993E-3</c:v>
                </c:pt>
                <c:pt idx="187">
                  <c:v>8.9999999999999993E-3</c:v>
                </c:pt>
                <c:pt idx="188">
                  <c:v>8.9999999999999993E-3</c:v>
                </c:pt>
                <c:pt idx="189">
                  <c:v>0.01</c:v>
                </c:pt>
                <c:pt idx="190">
                  <c:v>8.9999999999999993E-3</c:v>
                </c:pt>
                <c:pt idx="191">
                  <c:v>8.9999999999999993E-3</c:v>
                </c:pt>
                <c:pt idx="192">
                  <c:v>8.9999999999999993E-3</c:v>
                </c:pt>
                <c:pt idx="193">
                  <c:v>0.01</c:v>
                </c:pt>
                <c:pt idx="194">
                  <c:v>8.9999999999999993E-3</c:v>
                </c:pt>
                <c:pt idx="195">
                  <c:v>8.9999999999999993E-3</c:v>
                </c:pt>
                <c:pt idx="196">
                  <c:v>8.9999999999999993E-3</c:v>
                </c:pt>
                <c:pt idx="197">
                  <c:v>8.9999999999999993E-3</c:v>
                </c:pt>
                <c:pt idx="198">
                  <c:v>8.9999999999999993E-3</c:v>
                </c:pt>
                <c:pt idx="199">
                  <c:v>8.9999999999999993E-3</c:v>
                </c:pt>
                <c:pt idx="200">
                  <c:v>8.9999999999999993E-3</c:v>
                </c:pt>
                <c:pt idx="201">
                  <c:v>8.9999999999999993E-3</c:v>
                </c:pt>
                <c:pt idx="202">
                  <c:v>8.9999999999999993E-3</c:v>
                </c:pt>
                <c:pt idx="203">
                  <c:v>8.9999999999999993E-3</c:v>
                </c:pt>
                <c:pt idx="204">
                  <c:v>0.01</c:v>
                </c:pt>
                <c:pt idx="205">
                  <c:v>8.9999999999999993E-3</c:v>
                </c:pt>
                <c:pt idx="206">
                  <c:v>8.9999999999999993E-3</c:v>
                </c:pt>
                <c:pt idx="207">
                  <c:v>8.9999999999999993E-3</c:v>
                </c:pt>
                <c:pt idx="208">
                  <c:v>0.01</c:v>
                </c:pt>
                <c:pt idx="209">
                  <c:v>8.9999999999999993E-3</c:v>
                </c:pt>
                <c:pt idx="210">
                  <c:v>8.9999999999999993E-3</c:v>
                </c:pt>
                <c:pt idx="211">
                  <c:v>0.01</c:v>
                </c:pt>
                <c:pt idx="212">
                  <c:v>8.9999999999999993E-3</c:v>
                </c:pt>
                <c:pt idx="213">
                  <c:v>8.9999999999999993E-3</c:v>
                </c:pt>
                <c:pt idx="214">
                  <c:v>8.9999999999999993E-3</c:v>
                </c:pt>
                <c:pt idx="215">
                  <c:v>8.9999999999999993E-3</c:v>
                </c:pt>
                <c:pt idx="216">
                  <c:v>8.9999999999999993E-3</c:v>
                </c:pt>
                <c:pt idx="217">
                  <c:v>0.01</c:v>
                </c:pt>
                <c:pt idx="218">
                  <c:v>8.9999999999999993E-3</c:v>
                </c:pt>
                <c:pt idx="219">
                  <c:v>8.9999999999999993E-3</c:v>
                </c:pt>
                <c:pt idx="220">
                  <c:v>8.9999999999999993E-3</c:v>
                </c:pt>
                <c:pt idx="221">
                  <c:v>8.9999999999999993E-3</c:v>
                </c:pt>
                <c:pt idx="222">
                  <c:v>8.9999999999999993E-3</c:v>
                </c:pt>
                <c:pt idx="223">
                  <c:v>8.9999999999999993E-3</c:v>
                </c:pt>
                <c:pt idx="224">
                  <c:v>8.9999999999999993E-3</c:v>
                </c:pt>
                <c:pt idx="225">
                  <c:v>8.9999999999999993E-3</c:v>
                </c:pt>
                <c:pt idx="226">
                  <c:v>8.9999999999999993E-3</c:v>
                </c:pt>
                <c:pt idx="227">
                  <c:v>8.9999999999999993E-3</c:v>
                </c:pt>
                <c:pt idx="228">
                  <c:v>8.9999999999999993E-3</c:v>
                </c:pt>
                <c:pt idx="229">
                  <c:v>8.9999999999999993E-3</c:v>
                </c:pt>
                <c:pt idx="230">
                  <c:v>8.9999999999999993E-3</c:v>
                </c:pt>
                <c:pt idx="231">
                  <c:v>0.01</c:v>
                </c:pt>
                <c:pt idx="232">
                  <c:v>8.9999999999999993E-3</c:v>
                </c:pt>
                <c:pt idx="233">
                  <c:v>8.9999999999999993E-3</c:v>
                </c:pt>
                <c:pt idx="234">
                  <c:v>8.9999999999999993E-3</c:v>
                </c:pt>
                <c:pt idx="235">
                  <c:v>8.9999999999999993E-3</c:v>
                </c:pt>
                <c:pt idx="236">
                  <c:v>8.9999999999999993E-3</c:v>
                </c:pt>
                <c:pt idx="237">
                  <c:v>8.9999999999999993E-3</c:v>
                </c:pt>
                <c:pt idx="238">
                  <c:v>8.9999999999999993E-3</c:v>
                </c:pt>
                <c:pt idx="239">
                  <c:v>8.9999999999999993E-3</c:v>
                </c:pt>
                <c:pt idx="240">
                  <c:v>8.9999999999999993E-3</c:v>
                </c:pt>
                <c:pt idx="241">
                  <c:v>8.9999999999999993E-3</c:v>
                </c:pt>
                <c:pt idx="242">
                  <c:v>8.9999999999999993E-3</c:v>
                </c:pt>
                <c:pt idx="243">
                  <c:v>8.9999999999999993E-3</c:v>
                </c:pt>
                <c:pt idx="244">
                  <c:v>8.9999999999999993E-3</c:v>
                </c:pt>
                <c:pt idx="245">
                  <c:v>8.9999999999999993E-3</c:v>
                </c:pt>
                <c:pt idx="246">
                  <c:v>8.9999999999999993E-3</c:v>
                </c:pt>
                <c:pt idx="247">
                  <c:v>8.9999999999999993E-3</c:v>
                </c:pt>
                <c:pt idx="248">
                  <c:v>8.9999999999999993E-3</c:v>
                </c:pt>
                <c:pt idx="249">
                  <c:v>8.9999999999999993E-3</c:v>
                </c:pt>
                <c:pt idx="250">
                  <c:v>8.9999999999999993E-3</c:v>
                </c:pt>
                <c:pt idx="251">
                  <c:v>8.9999999999999993E-3</c:v>
                </c:pt>
                <c:pt idx="252">
                  <c:v>8.9999999999999993E-3</c:v>
                </c:pt>
                <c:pt idx="253">
                  <c:v>8.9999999999999993E-3</c:v>
                </c:pt>
                <c:pt idx="254">
                  <c:v>8.9999999999999993E-3</c:v>
                </c:pt>
                <c:pt idx="255">
                  <c:v>8.9999999999999993E-3</c:v>
                </c:pt>
                <c:pt idx="256">
                  <c:v>8.9999999999999993E-3</c:v>
                </c:pt>
                <c:pt idx="257">
                  <c:v>8.9999999999999993E-3</c:v>
                </c:pt>
                <c:pt idx="258">
                  <c:v>8.9999999999999993E-3</c:v>
                </c:pt>
                <c:pt idx="259">
                  <c:v>8.9999999999999993E-3</c:v>
                </c:pt>
                <c:pt idx="260">
                  <c:v>8.9999999999999993E-3</c:v>
                </c:pt>
                <c:pt idx="261">
                  <c:v>8.9999999999999993E-3</c:v>
                </c:pt>
                <c:pt idx="262">
                  <c:v>8.9999999999999993E-3</c:v>
                </c:pt>
                <c:pt idx="263">
                  <c:v>8.9999999999999993E-3</c:v>
                </c:pt>
                <c:pt idx="264">
                  <c:v>8.9999999999999993E-3</c:v>
                </c:pt>
                <c:pt idx="265">
                  <c:v>8.9999999999999993E-3</c:v>
                </c:pt>
                <c:pt idx="266">
                  <c:v>8.9999999999999993E-3</c:v>
                </c:pt>
                <c:pt idx="267">
                  <c:v>8.9999999999999993E-3</c:v>
                </c:pt>
                <c:pt idx="268">
                  <c:v>8.9999999999999993E-3</c:v>
                </c:pt>
                <c:pt idx="269">
                  <c:v>8.9999999999999993E-3</c:v>
                </c:pt>
                <c:pt idx="270">
                  <c:v>8.9999999999999993E-3</c:v>
                </c:pt>
                <c:pt idx="271">
                  <c:v>8.9999999999999993E-3</c:v>
                </c:pt>
                <c:pt idx="272">
                  <c:v>8.9999999999999993E-3</c:v>
                </c:pt>
                <c:pt idx="273">
                  <c:v>8.9999999999999993E-3</c:v>
                </c:pt>
                <c:pt idx="274">
                  <c:v>8.9999999999999993E-3</c:v>
                </c:pt>
                <c:pt idx="275">
                  <c:v>8.9999999999999993E-3</c:v>
                </c:pt>
                <c:pt idx="276">
                  <c:v>1E-3</c:v>
                </c:pt>
                <c:pt idx="277">
                  <c:v>8.9999999999999993E-3</c:v>
                </c:pt>
                <c:pt idx="278">
                  <c:v>8.9999999999999993E-3</c:v>
                </c:pt>
                <c:pt idx="279">
                  <c:v>8.9999999999999993E-3</c:v>
                </c:pt>
                <c:pt idx="280">
                  <c:v>8.9999999999999993E-3</c:v>
                </c:pt>
                <c:pt idx="281">
                  <c:v>8.9999999999999993E-3</c:v>
                </c:pt>
                <c:pt idx="282">
                  <c:v>8.9999999999999993E-3</c:v>
                </c:pt>
                <c:pt idx="283">
                  <c:v>8.9999999999999993E-3</c:v>
                </c:pt>
                <c:pt idx="284">
                  <c:v>8.9999999999999993E-3</c:v>
                </c:pt>
                <c:pt idx="285">
                  <c:v>8.9999999999999993E-3</c:v>
                </c:pt>
                <c:pt idx="286">
                  <c:v>8.9999999999999993E-3</c:v>
                </c:pt>
                <c:pt idx="287">
                  <c:v>8.9999999999999993E-3</c:v>
                </c:pt>
                <c:pt idx="288">
                  <c:v>8.9999999999999993E-3</c:v>
                </c:pt>
                <c:pt idx="289">
                  <c:v>8.9999999999999993E-3</c:v>
                </c:pt>
                <c:pt idx="290">
                  <c:v>8.9999999999999993E-3</c:v>
                </c:pt>
                <c:pt idx="291">
                  <c:v>8.9999999999999993E-3</c:v>
                </c:pt>
                <c:pt idx="292">
                  <c:v>8.9999999999999993E-3</c:v>
                </c:pt>
                <c:pt idx="293">
                  <c:v>8.9999999999999993E-3</c:v>
                </c:pt>
                <c:pt idx="294">
                  <c:v>8.9999999999999993E-3</c:v>
                </c:pt>
                <c:pt idx="295">
                  <c:v>8.9999999999999993E-3</c:v>
                </c:pt>
                <c:pt idx="296">
                  <c:v>8.9999999999999993E-3</c:v>
                </c:pt>
                <c:pt idx="297">
                  <c:v>8.9999999999999993E-3</c:v>
                </c:pt>
                <c:pt idx="298">
                  <c:v>8.9999999999999993E-3</c:v>
                </c:pt>
                <c:pt idx="299">
                  <c:v>8.9999999999999993E-3</c:v>
                </c:pt>
                <c:pt idx="300">
                  <c:v>8.9999999999999993E-3</c:v>
                </c:pt>
                <c:pt idx="301">
                  <c:v>8.9999999999999993E-3</c:v>
                </c:pt>
                <c:pt idx="302">
                  <c:v>8.9999999999999993E-3</c:v>
                </c:pt>
                <c:pt idx="303">
                  <c:v>8.9999999999999993E-3</c:v>
                </c:pt>
                <c:pt idx="304">
                  <c:v>8.9999999999999993E-3</c:v>
                </c:pt>
                <c:pt idx="305">
                  <c:v>8.9999999999999993E-3</c:v>
                </c:pt>
                <c:pt idx="306">
                  <c:v>8.9999999999999993E-3</c:v>
                </c:pt>
                <c:pt idx="307">
                  <c:v>8.9999999999999993E-3</c:v>
                </c:pt>
                <c:pt idx="308">
                  <c:v>8.9999999999999993E-3</c:v>
                </c:pt>
                <c:pt idx="309">
                  <c:v>8.9999999999999993E-3</c:v>
                </c:pt>
                <c:pt idx="310">
                  <c:v>8.9999999999999993E-3</c:v>
                </c:pt>
                <c:pt idx="311">
                  <c:v>8.9999999999999993E-3</c:v>
                </c:pt>
                <c:pt idx="312">
                  <c:v>1E-3</c:v>
                </c:pt>
                <c:pt idx="313">
                  <c:v>8.9999999999999993E-3</c:v>
                </c:pt>
                <c:pt idx="314">
                  <c:v>8.9999999999999993E-3</c:v>
                </c:pt>
                <c:pt idx="315">
                  <c:v>8.9999999999999993E-3</c:v>
                </c:pt>
                <c:pt idx="316">
                  <c:v>8.9999999999999993E-3</c:v>
                </c:pt>
                <c:pt idx="317">
                  <c:v>8.9999999999999993E-3</c:v>
                </c:pt>
                <c:pt idx="318">
                  <c:v>8.9999999999999993E-3</c:v>
                </c:pt>
                <c:pt idx="319">
                  <c:v>8.9999999999999993E-3</c:v>
                </c:pt>
                <c:pt idx="320">
                  <c:v>8.9999999999999993E-3</c:v>
                </c:pt>
                <c:pt idx="321">
                  <c:v>8.9999999999999993E-3</c:v>
                </c:pt>
                <c:pt idx="322">
                  <c:v>8.9999999999999993E-3</c:v>
                </c:pt>
                <c:pt idx="323">
                  <c:v>1E-3</c:v>
                </c:pt>
                <c:pt idx="324">
                  <c:v>8.9999999999999993E-3</c:v>
                </c:pt>
                <c:pt idx="325">
                  <c:v>8.9999999999999993E-3</c:v>
                </c:pt>
                <c:pt idx="326">
                  <c:v>8.9999999999999993E-3</c:v>
                </c:pt>
                <c:pt idx="327">
                  <c:v>8.9999999999999993E-3</c:v>
                </c:pt>
                <c:pt idx="328">
                  <c:v>8.9999999999999993E-3</c:v>
                </c:pt>
                <c:pt idx="329">
                  <c:v>8.9999999999999993E-3</c:v>
                </c:pt>
                <c:pt idx="330">
                  <c:v>8.9999999999999993E-3</c:v>
                </c:pt>
                <c:pt idx="331">
                  <c:v>1E-3</c:v>
                </c:pt>
                <c:pt idx="332">
                  <c:v>8.9999999999999993E-3</c:v>
                </c:pt>
                <c:pt idx="333">
                  <c:v>8.9999999999999993E-3</c:v>
                </c:pt>
                <c:pt idx="334">
                  <c:v>8.9999999999999993E-3</c:v>
                </c:pt>
                <c:pt idx="335">
                  <c:v>8.9999999999999993E-3</c:v>
                </c:pt>
                <c:pt idx="336">
                  <c:v>8.9999999999999993E-3</c:v>
                </c:pt>
                <c:pt idx="337">
                  <c:v>8.9999999999999993E-3</c:v>
                </c:pt>
                <c:pt idx="338">
                  <c:v>8.9999999999999993E-3</c:v>
                </c:pt>
                <c:pt idx="339">
                  <c:v>1E-3</c:v>
                </c:pt>
                <c:pt idx="340">
                  <c:v>8.9999999999999993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4C94-472B-89BE-601C63F419F6}"/>
              </c:ext>
            </c:extLst>
          </c:dPt>
          <c:dPt>
            <c:idx val="211"/>
            <c:invertIfNegative val="1"/>
            <c:bubble3D val="0"/>
            <c:spPr>
              <a:solidFill>
                <a:srgbClr val="AEABAB"/>
              </a:solidFill>
            </c:spPr>
            <c:extLst>
              <c:ext xmlns:c16="http://schemas.microsoft.com/office/drawing/2014/chart" uri="{C3380CC4-5D6E-409C-BE32-E72D297353CC}">
                <c16:uniqueId val="{000001A9-4C94-472B-89BE-601C63F419F6}"/>
              </c:ext>
            </c:extLst>
          </c:dPt>
          <c:dPt>
            <c:idx val="212"/>
            <c:invertIfNegative val="1"/>
            <c:bubble3D val="0"/>
            <c:spPr>
              <a:solidFill>
                <a:srgbClr val="AEABAB"/>
              </a:solidFill>
            </c:spPr>
            <c:extLst>
              <c:ext xmlns:c16="http://schemas.microsoft.com/office/drawing/2014/chart" uri="{C3380CC4-5D6E-409C-BE32-E72D297353CC}">
                <c16:uniqueId val="{000001AB-4C94-472B-89BE-601C63F419F6}"/>
              </c:ext>
            </c:extLst>
          </c:dPt>
          <c:dPt>
            <c:idx val="213"/>
            <c:invertIfNegative val="1"/>
            <c:bubble3D val="0"/>
            <c:spPr>
              <a:solidFill>
                <a:srgbClr val="AEABAB"/>
              </a:solidFill>
            </c:spPr>
            <c:extLst>
              <c:ext xmlns:c16="http://schemas.microsoft.com/office/drawing/2014/chart" uri="{C3380CC4-5D6E-409C-BE32-E72D297353CC}">
                <c16:uniqueId val="{000001AD-4C94-472B-89BE-601C63F419F6}"/>
              </c:ext>
            </c:extLst>
          </c:dPt>
          <c:dPt>
            <c:idx val="214"/>
            <c:invertIfNegative val="1"/>
            <c:bubble3D val="0"/>
            <c:spPr>
              <a:solidFill>
                <a:srgbClr val="AEABAB"/>
              </a:solidFill>
            </c:spPr>
            <c:extLst>
              <c:ext xmlns:c16="http://schemas.microsoft.com/office/drawing/2014/chart" uri="{C3380CC4-5D6E-409C-BE32-E72D297353CC}">
                <c16:uniqueId val="{000001AF-4C94-472B-89BE-601C63F419F6}"/>
              </c:ext>
            </c:extLst>
          </c:dPt>
          <c:dPt>
            <c:idx val="215"/>
            <c:invertIfNegative val="1"/>
            <c:bubble3D val="0"/>
            <c:spPr>
              <a:solidFill>
                <a:srgbClr val="AEABAB"/>
              </a:solidFill>
            </c:spPr>
            <c:extLst>
              <c:ext xmlns:c16="http://schemas.microsoft.com/office/drawing/2014/chart" uri="{C3380CC4-5D6E-409C-BE32-E72D297353CC}">
                <c16:uniqueId val="{000001B1-4C94-472B-89BE-601C63F419F6}"/>
              </c:ext>
            </c:extLst>
          </c:dPt>
          <c:dPt>
            <c:idx val="216"/>
            <c:invertIfNegative val="1"/>
            <c:bubble3D val="0"/>
            <c:spPr>
              <a:solidFill>
                <a:srgbClr val="AEABAB"/>
              </a:solidFill>
            </c:spPr>
            <c:extLst>
              <c:ext xmlns:c16="http://schemas.microsoft.com/office/drawing/2014/chart" uri="{C3380CC4-5D6E-409C-BE32-E72D297353CC}">
                <c16:uniqueId val="{000001B3-4C94-472B-89BE-601C63F419F6}"/>
              </c:ext>
            </c:extLst>
          </c:dPt>
          <c:dPt>
            <c:idx val="217"/>
            <c:invertIfNegative val="1"/>
            <c:bubble3D val="0"/>
            <c:spPr>
              <a:solidFill>
                <a:srgbClr val="AEABAB"/>
              </a:solidFill>
            </c:spPr>
            <c:extLst>
              <c:ext xmlns:c16="http://schemas.microsoft.com/office/drawing/2014/chart" uri="{C3380CC4-5D6E-409C-BE32-E72D297353CC}">
                <c16:uniqueId val="{000001B5-4C94-472B-89BE-601C63F419F6}"/>
              </c:ext>
            </c:extLst>
          </c:dPt>
          <c:dPt>
            <c:idx val="218"/>
            <c:invertIfNegative val="1"/>
            <c:bubble3D val="0"/>
            <c:spPr>
              <a:solidFill>
                <a:srgbClr val="AEABAB"/>
              </a:solidFill>
            </c:spPr>
            <c:extLst>
              <c:ext xmlns:c16="http://schemas.microsoft.com/office/drawing/2014/chart" uri="{C3380CC4-5D6E-409C-BE32-E72D297353CC}">
                <c16:uniqueId val="{000001B7-4C94-472B-89BE-601C63F419F6}"/>
              </c:ext>
            </c:extLst>
          </c:dPt>
          <c:dPt>
            <c:idx val="219"/>
            <c:invertIfNegative val="1"/>
            <c:bubble3D val="0"/>
            <c:spPr>
              <a:solidFill>
                <a:srgbClr val="AEABAB"/>
              </a:solidFill>
            </c:spPr>
            <c:extLst>
              <c:ext xmlns:c16="http://schemas.microsoft.com/office/drawing/2014/chart" uri="{C3380CC4-5D6E-409C-BE32-E72D297353CC}">
                <c16:uniqueId val="{000001B9-4C94-472B-89BE-601C63F419F6}"/>
              </c:ext>
            </c:extLst>
          </c:dPt>
          <c:dPt>
            <c:idx val="220"/>
            <c:invertIfNegative val="1"/>
            <c:bubble3D val="0"/>
            <c:spPr>
              <a:solidFill>
                <a:srgbClr val="AEABAB"/>
              </a:solidFill>
            </c:spPr>
            <c:extLst>
              <c:ext xmlns:c16="http://schemas.microsoft.com/office/drawing/2014/chart" uri="{C3380CC4-5D6E-409C-BE32-E72D297353CC}">
                <c16:uniqueId val="{000001BB-4C94-472B-89BE-601C63F419F6}"/>
              </c:ext>
            </c:extLst>
          </c:dPt>
          <c:dPt>
            <c:idx val="221"/>
            <c:invertIfNegative val="1"/>
            <c:bubble3D val="0"/>
            <c:spPr>
              <a:solidFill>
                <a:srgbClr val="AEABAB"/>
              </a:solidFill>
            </c:spPr>
            <c:extLst>
              <c:ext xmlns:c16="http://schemas.microsoft.com/office/drawing/2014/chart" uri="{C3380CC4-5D6E-409C-BE32-E72D297353CC}">
                <c16:uniqueId val="{000001BD-4C94-472B-89BE-601C63F419F6}"/>
              </c:ext>
            </c:extLst>
          </c:dPt>
          <c:dPt>
            <c:idx val="222"/>
            <c:invertIfNegative val="1"/>
            <c:bubble3D val="0"/>
            <c:spPr>
              <a:solidFill>
                <a:srgbClr val="AEABAB"/>
              </a:solidFill>
            </c:spPr>
            <c:extLst>
              <c:ext xmlns:c16="http://schemas.microsoft.com/office/drawing/2014/chart" uri="{C3380CC4-5D6E-409C-BE32-E72D297353CC}">
                <c16:uniqueId val="{000001BF-4C94-472B-89BE-601C63F419F6}"/>
              </c:ext>
            </c:extLst>
          </c:dPt>
          <c:dPt>
            <c:idx val="223"/>
            <c:invertIfNegative val="1"/>
            <c:bubble3D val="0"/>
            <c:spPr>
              <a:solidFill>
                <a:srgbClr val="AEABAB"/>
              </a:solidFill>
            </c:spPr>
            <c:extLst>
              <c:ext xmlns:c16="http://schemas.microsoft.com/office/drawing/2014/chart" uri="{C3380CC4-5D6E-409C-BE32-E72D297353CC}">
                <c16:uniqueId val="{000001C1-4C94-472B-89BE-601C63F419F6}"/>
              </c:ext>
            </c:extLst>
          </c:dPt>
          <c:dPt>
            <c:idx val="224"/>
            <c:invertIfNegative val="1"/>
            <c:bubble3D val="0"/>
            <c:spPr>
              <a:solidFill>
                <a:srgbClr val="AEABAB"/>
              </a:solidFill>
            </c:spPr>
            <c:extLst>
              <c:ext xmlns:c16="http://schemas.microsoft.com/office/drawing/2014/chart" uri="{C3380CC4-5D6E-409C-BE32-E72D297353CC}">
                <c16:uniqueId val="{000001C3-4C94-472B-89BE-601C63F419F6}"/>
              </c:ext>
            </c:extLst>
          </c:dPt>
          <c:dPt>
            <c:idx val="225"/>
            <c:invertIfNegative val="1"/>
            <c:bubble3D val="0"/>
            <c:spPr>
              <a:solidFill>
                <a:srgbClr val="AEABAB"/>
              </a:solidFill>
            </c:spPr>
            <c:extLst>
              <c:ext xmlns:c16="http://schemas.microsoft.com/office/drawing/2014/chart" uri="{C3380CC4-5D6E-409C-BE32-E72D297353CC}">
                <c16:uniqueId val="{000001C5-4C94-472B-89BE-601C63F419F6}"/>
              </c:ext>
            </c:extLst>
          </c:dPt>
          <c:dPt>
            <c:idx val="226"/>
            <c:invertIfNegative val="1"/>
            <c:bubble3D val="0"/>
            <c:spPr>
              <a:solidFill>
                <a:srgbClr val="AEABAB"/>
              </a:solidFill>
            </c:spPr>
            <c:extLst>
              <c:ext xmlns:c16="http://schemas.microsoft.com/office/drawing/2014/chart" uri="{C3380CC4-5D6E-409C-BE32-E72D297353CC}">
                <c16:uniqueId val="{000001C7-4C94-472B-89BE-601C63F419F6}"/>
              </c:ext>
            </c:extLst>
          </c:dPt>
          <c:dPt>
            <c:idx val="227"/>
            <c:invertIfNegative val="1"/>
            <c:bubble3D val="0"/>
            <c:spPr>
              <a:solidFill>
                <a:srgbClr val="AEABAB"/>
              </a:solidFill>
            </c:spPr>
            <c:extLst>
              <c:ext xmlns:c16="http://schemas.microsoft.com/office/drawing/2014/chart" uri="{C3380CC4-5D6E-409C-BE32-E72D297353CC}">
                <c16:uniqueId val="{000001C9-4C94-472B-89BE-601C63F419F6}"/>
              </c:ext>
            </c:extLst>
          </c:dPt>
          <c:dPt>
            <c:idx val="228"/>
            <c:invertIfNegative val="1"/>
            <c:bubble3D val="0"/>
            <c:spPr>
              <a:solidFill>
                <a:srgbClr val="AEABAB"/>
              </a:solidFill>
            </c:spPr>
            <c:extLst>
              <c:ext xmlns:c16="http://schemas.microsoft.com/office/drawing/2014/chart" uri="{C3380CC4-5D6E-409C-BE32-E72D297353CC}">
                <c16:uniqueId val="{000001CB-4C94-472B-89BE-601C63F419F6}"/>
              </c:ext>
            </c:extLst>
          </c:dPt>
          <c:dPt>
            <c:idx val="229"/>
            <c:invertIfNegative val="1"/>
            <c:bubble3D val="0"/>
            <c:spPr>
              <a:solidFill>
                <a:srgbClr val="AEABAB"/>
              </a:solidFill>
            </c:spPr>
            <c:extLst>
              <c:ext xmlns:c16="http://schemas.microsoft.com/office/drawing/2014/chart" uri="{C3380CC4-5D6E-409C-BE32-E72D297353CC}">
                <c16:uniqueId val="{000001CD-4C94-472B-89BE-601C63F419F6}"/>
              </c:ext>
            </c:extLst>
          </c:dPt>
          <c:dPt>
            <c:idx val="230"/>
            <c:invertIfNegative val="1"/>
            <c:bubble3D val="0"/>
            <c:spPr>
              <a:solidFill>
                <a:srgbClr val="AEABAB"/>
              </a:solidFill>
            </c:spPr>
            <c:extLst>
              <c:ext xmlns:c16="http://schemas.microsoft.com/office/drawing/2014/chart" uri="{C3380CC4-5D6E-409C-BE32-E72D297353CC}">
                <c16:uniqueId val="{000001CF-4C94-472B-89BE-601C63F419F6}"/>
              </c:ext>
            </c:extLst>
          </c:dPt>
          <c:dPt>
            <c:idx val="231"/>
            <c:invertIfNegative val="1"/>
            <c:bubble3D val="0"/>
            <c:spPr>
              <a:solidFill>
                <a:srgbClr val="AEABAB"/>
              </a:solidFill>
            </c:spPr>
            <c:extLst>
              <c:ext xmlns:c16="http://schemas.microsoft.com/office/drawing/2014/chart" uri="{C3380CC4-5D6E-409C-BE32-E72D297353CC}">
                <c16:uniqueId val="{000001D1-4C94-472B-89BE-601C63F419F6}"/>
              </c:ext>
            </c:extLst>
          </c:dPt>
          <c:dPt>
            <c:idx val="232"/>
            <c:invertIfNegative val="1"/>
            <c:bubble3D val="0"/>
            <c:spPr>
              <a:solidFill>
                <a:srgbClr val="AEABAB"/>
              </a:solidFill>
            </c:spPr>
            <c:extLst>
              <c:ext xmlns:c16="http://schemas.microsoft.com/office/drawing/2014/chart" uri="{C3380CC4-5D6E-409C-BE32-E72D297353CC}">
                <c16:uniqueId val="{000001D3-4C94-472B-89BE-601C63F419F6}"/>
              </c:ext>
            </c:extLst>
          </c:dPt>
          <c:dPt>
            <c:idx val="233"/>
            <c:invertIfNegative val="1"/>
            <c:bubble3D val="0"/>
            <c:spPr>
              <a:solidFill>
                <a:srgbClr val="AEABAB"/>
              </a:solidFill>
            </c:spPr>
            <c:extLst>
              <c:ext xmlns:c16="http://schemas.microsoft.com/office/drawing/2014/chart" uri="{C3380CC4-5D6E-409C-BE32-E72D297353CC}">
                <c16:uniqueId val="{000001D5-4C94-472B-89BE-601C63F419F6}"/>
              </c:ext>
            </c:extLst>
          </c:dPt>
          <c:dPt>
            <c:idx val="234"/>
            <c:invertIfNegative val="1"/>
            <c:bubble3D val="0"/>
            <c:spPr>
              <a:solidFill>
                <a:srgbClr val="AEABAB"/>
              </a:solidFill>
            </c:spPr>
            <c:extLst>
              <c:ext xmlns:c16="http://schemas.microsoft.com/office/drawing/2014/chart" uri="{C3380CC4-5D6E-409C-BE32-E72D297353CC}">
                <c16:uniqueId val="{000001D7-4C94-472B-89BE-601C63F419F6}"/>
              </c:ext>
            </c:extLst>
          </c:dPt>
          <c:dPt>
            <c:idx val="235"/>
            <c:invertIfNegative val="1"/>
            <c:bubble3D val="0"/>
            <c:spPr>
              <a:solidFill>
                <a:srgbClr val="AEABAB"/>
              </a:solidFill>
            </c:spPr>
            <c:extLst>
              <c:ext xmlns:c16="http://schemas.microsoft.com/office/drawing/2014/chart" uri="{C3380CC4-5D6E-409C-BE32-E72D297353CC}">
                <c16:uniqueId val="{000001D9-4C94-472B-89BE-601C63F419F6}"/>
              </c:ext>
            </c:extLst>
          </c:dPt>
          <c:dPt>
            <c:idx val="236"/>
            <c:invertIfNegative val="1"/>
            <c:bubble3D val="0"/>
            <c:spPr>
              <a:solidFill>
                <a:srgbClr val="AEABAB"/>
              </a:solidFill>
            </c:spPr>
            <c:extLst>
              <c:ext xmlns:c16="http://schemas.microsoft.com/office/drawing/2014/chart" uri="{C3380CC4-5D6E-409C-BE32-E72D297353CC}">
                <c16:uniqueId val="{000001DB-4C94-472B-89BE-601C63F419F6}"/>
              </c:ext>
            </c:extLst>
          </c:dPt>
          <c:dPt>
            <c:idx val="237"/>
            <c:invertIfNegative val="1"/>
            <c:bubble3D val="0"/>
            <c:spPr>
              <a:solidFill>
                <a:srgbClr val="AEABAB"/>
              </a:solidFill>
            </c:spPr>
            <c:extLst>
              <c:ext xmlns:c16="http://schemas.microsoft.com/office/drawing/2014/chart" uri="{C3380CC4-5D6E-409C-BE32-E72D297353CC}">
                <c16:uniqueId val="{000001DD-4C94-472B-89BE-601C63F419F6}"/>
              </c:ext>
            </c:extLst>
          </c:dPt>
          <c:dPt>
            <c:idx val="238"/>
            <c:invertIfNegative val="1"/>
            <c:bubble3D val="0"/>
            <c:spPr>
              <a:solidFill>
                <a:srgbClr val="AEABAB"/>
              </a:solidFill>
            </c:spPr>
            <c:extLst>
              <c:ext xmlns:c16="http://schemas.microsoft.com/office/drawing/2014/chart" uri="{C3380CC4-5D6E-409C-BE32-E72D297353CC}">
                <c16:uniqueId val="{000001DF-4C94-472B-89BE-601C63F419F6}"/>
              </c:ext>
            </c:extLst>
          </c:dPt>
          <c:dPt>
            <c:idx val="239"/>
            <c:invertIfNegative val="1"/>
            <c:bubble3D val="0"/>
            <c:spPr>
              <a:solidFill>
                <a:srgbClr val="AEABAB"/>
              </a:solidFill>
            </c:spPr>
            <c:extLst>
              <c:ext xmlns:c16="http://schemas.microsoft.com/office/drawing/2014/chart" uri="{C3380CC4-5D6E-409C-BE32-E72D297353CC}">
                <c16:uniqueId val="{000001E1-4C94-472B-89BE-601C63F419F6}"/>
              </c:ext>
            </c:extLst>
          </c:dPt>
          <c:dPt>
            <c:idx val="240"/>
            <c:invertIfNegative val="1"/>
            <c:bubble3D val="0"/>
            <c:spPr>
              <a:solidFill>
                <a:srgbClr val="AEABAB"/>
              </a:solidFill>
            </c:spPr>
            <c:extLst>
              <c:ext xmlns:c16="http://schemas.microsoft.com/office/drawing/2014/chart" uri="{C3380CC4-5D6E-409C-BE32-E72D297353CC}">
                <c16:uniqueId val="{000001E3-4C94-472B-89BE-601C63F419F6}"/>
              </c:ext>
            </c:extLst>
          </c:dPt>
          <c:dPt>
            <c:idx val="241"/>
            <c:invertIfNegative val="1"/>
            <c:bubble3D val="0"/>
            <c:spPr>
              <a:solidFill>
                <a:srgbClr val="AEABAB"/>
              </a:solidFill>
            </c:spPr>
            <c:extLst>
              <c:ext xmlns:c16="http://schemas.microsoft.com/office/drawing/2014/chart" uri="{C3380CC4-5D6E-409C-BE32-E72D297353CC}">
                <c16:uniqueId val="{000001E5-4C94-472B-89BE-601C63F419F6}"/>
              </c:ext>
            </c:extLst>
          </c:dPt>
          <c:dPt>
            <c:idx val="242"/>
            <c:invertIfNegative val="1"/>
            <c:bubble3D val="0"/>
            <c:spPr>
              <a:solidFill>
                <a:srgbClr val="AEABAB"/>
              </a:solidFill>
            </c:spPr>
            <c:extLst>
              <c:ext xmlns:c16="http://schemas.microsoft.com/office/drawing/2014/chart" uri="{C3380CC4-5D6E-409C-BE32-E72D297353CC}">
                <c16:uniqueId val="{000001E7-4C94-472B-89BE-601C63F419F6}"/>
              </c:ext>
            </c:extLst>
          </c:dPt>
          <c:dPt>
            <c:idx val="243"/>
            <c:invertIfNegative val="1"/>
            <c:bubble3D val="0"/>
            <c:spPr>
              <a:solidFill>
                <a:srgbClr val="AEABAB"/>
              </a:solidFill>
            </c:spPr>
            <c:extLst>
              <c:ext xmlns:c16="http://schemas.microsoft.com/office/drawing/2014/chart" uri="{C3380CC4-5D6E-409C-BE32-E72D297353CC}">
                <c16:uniqueId val="{000001E9-4C94-472B-89BE-601C63F419F6}"/>
              </c:ext>
            </c:extLst>
          </c:dPt>
          <c:dPt>
            <c:idx val="244"/>
            <c:invertIfNegative val="1"/>
            <c:bubble3D val="0"/>
            <c:spPr>
              <a:solidFill>
                <a:srgbClr val="AEABAB"/>
              </a:solidFill>
            </c:spPr>
            <c:extLst>
              <c:ext xmlns:c16="http://schemas.microsoft.com/office/drawing/2014/chart" uri="{C3380CC4-5D6E-409C-BE32-E72D297353CC}">
                <c16:uniqueId val="{000001EB-4C94-472B-89BE-601C63F419F6}"/>
              </c:ext>
            </c:extLst>
          </c:dPt>
          <c:dPt>
            <c:idx val="245"/>
            <c:invertIfNegative val="1"/>
            <c:bubble3D val="0"/>
            <c:spPr>
              <a:solidFill>
                <a:srgbClr val="AEABAB"/>
              </a:solidFill>
            </c:spPr>
            <c:extLst>
              <c:ext xmlns:c16="http://schemas.microsoft.com/office/drawing/2014/chart" uri="{C3380CC4-5D6E-409C-BE32-E72D297353CC}">
                <c16:uniqueId val="{000001ED-4C94-472B-89BE-601C63F419F6}"/>
              </c:ext>
            </c:extLst>
          </c:dPt>
          <c:dPt>
            <c:idx val="246"/>
            <c:invertIfNegative val="1"/>
            <c:bubble3D val="0"/>
            <c:spPr>
              <a:solidFill>
                <a:srgbClr val="AEABAB"/>
              </a:solidFill>
            </c:spPr>
            <c:extLst>
              <c:ext xmlns:c16="http://schemas.microsoft.com/office/drawing/2014/chart" uri="{C3380CC4-5D6E-409C-BE32-E72D297353CC}">
                <c16:uniqueId val="{000001EF-4C94-472B-89BE-601C63F419F6}"/>
              </c:ext>
            </c:extLst>
          </c:dPt>
          <c:dPt>
            <c:idx val="247"/>
            <c:invertIfNegative val="1"/>
            <c:bubble3D val="0"/>
            <c:spPr>
              <a:solidFill>
                <a:srgbClr val="AEABAB"/>
              </a:solidFill>
            </c:spPr>
            <c:extLst>
              <c:ext xmlns:c16="http://schemas.microsoft.com/office/drawing/2014/chart" uri="{C3380CC4-5D6E-409C-BE32-E72D297353CC}">
                <c16:uniqueId val="{000001F1-4C94-472B-89BE-601C63F419F6}"/>
              </c:ext>
            </c:extLst>
          </c:dPt>
          <c:dPt>
            <c:idx val="248"/>
            <c:invertIfNegative val="1"/>
            <c:bubble3D val="0"/>
            <c:spPr>
              <a:solidFill>
                <a:srgbClr val="AEABAB"/>
              </a:solidFill>
            </c:spPr>
            <c:extLst>
              <c:ext xmlns:c16="http://schemas.microsoft.com/office/drawing/2014/chart" uri="{C3380CC4-5D6E-409C-BE32-E72D297353CC}">
                <c16:uniqueId val="{000001F3-4C94-472B-89BE-601C63F419F6}"/>
              </c:ext>
            </c:extLst>
          </c:dPt>
          <c:dPt>
            <c:idx val="249"/>
            <c:invertIfNegative val="1"/>
            <c:bubble3D val="0"/>
            <c:spPr>
              <a:solidFill>
                <a:srgbClr val="AEABAB"/>
              </a:solidFill>
            </c:spPr>
            <c:extLst>
              <c:ext xmlns:c16="http://schemas.microsoft.com/office/drawing/2014/chart" uri="{C3380CC4-5D6E-409C-BE32-E72D297353CC}">
                <c16:uniqueId val="{000001F5-4C94-472B-89BE-601C63F419F6}"/>
              </c:ext>
            </c:extLst>
          </c:dPt>
          <c:dPt>
            <c:idx val="250"/>
            <c:invertIfNegative val="1"/>
            <c:bubble3D val="0"/>
            <c:spPr>
              <a:solidFill>
                <a:srgbClr val="AEABAB"/>
              </a:solidFill>
            </c:spPr>
            <c:extLst>
              <c:ext xmlns:c16="http://schemas.microsoft.com/office/drawing/2014/chart" uri="{C3380CC4-5D6E-409C-BE32-E72D297353CC}">
                <c16:uniqueId val="{000001F7-4C94-472B-89BE-601C63F419F6}"/>
              </c:ext>
            </c:extLst>
          </c:dPt>
          <c:dPt>
            <c:idx val="251"/>
            <c:invertIfNegative val="1"/>
            <c:bubble3D val="0"/>
            <c:spPr>
              <a:solidFill>
                <a:srgbClr val="AEABAB"/>
              </a:solidFill>
            </c:spPr>
            <c:extLst>
              <c:ext xmlns:c16="http://schemas.microsoft.com/office/drawing/2014/chart" uri="{C3380CC4-5D6E-409C-BE32-E72D297353CC}">
                <c16:uniqueId val="{000001F9-4C94-472B-89BE-601C63F419F6}"/>
              </c:ext>
            </c:extLst>
          </c:dPt>
          <c:dPt>
            <c:idx val="252"/>
            <c:invertIfNegative val="1"/>
            <c:bubble3D val="0"/>
            <c:spPr>
              <a:solidFill>
                <a:srgbClr val="AEABAB"/>
              </a:solidFill>
            </c:spPr>
            <c:extLst>
              <c:ext xmlns:c16="http://schemas.microsoft.com/office/drawing/2014/chart" uri="{C3380CC4-5D6E-409C-BE32-E72D297353CC}">
                <c16:uniqueId val="{000001FB-4C94-472B-89BE-601C63F419F6}"/>
              </c:ext>
            </c:extLst>
          </c:dPt>
          <c:dPt>
            <c:idx val="253"/>
            <c:invertIfNegative val="1"/>
            <c:bubble3D val="0"/>
            <c:spPr>
              <a:solidFill>
                <a:srgbClr val="AEABAB"/>
              </a:solidFill>
            </c:spPr>
            <c:extLst>
              <c:ext xmlns:c16="http://schemas.microsoft.com/office/drawing/2014/chart" uri="{C3380CC4-5D6E-409C-BE32-E72D297353CC}">
                <c16:uniqueId val="{000001FD-4C94-472B-89BE-601C63F419F6}"/>
              </c:ext>
            </c:extLst>
          </c:dPt>
          <c:dPt>
            <c:idx val="254"/>
            <c:invertIfNegative val="1"/>
            <c:bubble3D val="0"/>
            <c:spPr>
              <a:solidFill>
                <a:srgbClr val="AEABAB"/>
              </a:solidFill>
            </c:spPr>
            <c:extLst>
              <c:ext xmlns:c16="http://schemas.microsoft.com/office/drawing/2014/chart" uri="{C3380CC4-5D6E-409C-BE32-E72D297353CC}">
                <c16:uniqueId val="{000001FF-4C94-472B-89BE-601C63F419F6}"/>
              </c:ext>
            </c:extLst>
          </c:dPt>
          <c:dPt>
            <c:idx val="255"/>
            <c:invertIfNegative val="1"/>
            <c:bubble3D val="0"/>
            <c:spPr>
              <a:solidFill>
                <a:srgbClr val="AEABAB"/>
              </a:solidFill>
            </c:spPr>
            <c:extLst>
              <c:ext xmlns:c16="http://schemas.microsoft.com/office/drawing/2014/chart" uri="{C3380CC4-5D6E-409C-BE32-E72D297353CC}">
                <c16:uniqueId val="{00000201-4C94-472B-89BE-601C63F419F6}"/>
              </c:ext>
            </c:extLst>
          </c:dPt>
          <c:dPt>
            <c:idx val="256"/>
            <c:invertIfNegative val="1"/>
            <c:bubble3D val="0"/>
            <c:spPr>
              <a:solidFill>
                <a:srgbClr val="AEABAB"/>
              </a:solidFill>
            </c:spPr>
            <c:extLst>
              <c:ext xmlns:c16="http://schemas.microsoft.com/office/drawing/2014/chart" uri="{C3380CC4-5D6E-409C-BE32-E72D297353CC}">
                <c16:uniqueId val="{00000203-4C94-472B-89BE-601C63F419F6}"/>
              </c:ext>
            </c:extLst>
          </c:dPt>
          <c:dPt>
            <c:idx val="257"/>
            <c:invertIfNegative val="1"/>
            <c:bubble3D val="0"/>
            <c:spPr>
              <a:solidFill>
                <a:srgbClr val="AEABAB"/>
              </a:solidFill>
            </c:spPr>
            <c:extLst>
              <c:ext xmlns:c16="http://schemas.microsoft.com/office/drawing/2014/chart" uri="{C3380CC4-5D6E-409C-BE32-E72D297353CC}">
                <c16:uniqueId val="{00000205-4C94-472B-89BE-601C63F419F6}"/>
              </c:ext>
            </c:extLst>
          </c:dPt>
          <c:dPt>
            <c:idx val="258"/>
            <c:invertIfNegative val="1"/>
            <c:bubble3D val="0"/>
            <c:spPr>
              <a:solidFill>
                <a:srgbClr val="AEABAB"/>
              </a:solidFill>
            </c:spPr>
            <c:extLst>
              <c:ext xmlns:c16="http://schemas.microsoft.com/office/drawing/2014/chart" uri="{C3380CC4-5D6E-409C-BE32-E72D297353CC}">
                <c16:uniqueId val="{00000207-4C94-472B-89BE-601C63F419F6}"/>
              </c:ext>
            </c:extLst>
          </c:dPt>
          <c:dPt>
            <c:idx val="259"/>
            <c:invertIfNegative val="1"/>
            <c:bubble3D val="0"/>
            <c:spPr>
              <a:solidFill>
                <a:srgbClr val="AEABAB"/>
              </a:solidFill>
            </c:spPr>
            <c:extLst>
              <c:ext xmlns:c16="http://schemas.microsoft.com/office/drawing/2014/chart" uri="{C3380CC4-5D6E-409C-BE32-E72D297353CC}">
                <c16:uniqueId val="{00000209-4C94-472B-89BE-601C63F419F6}"/>
              </c:ext>
            </c:extLst>
          </c:dPt>
          <c:dPt>
            <c:idx val="260"/>
            <c:invertIfNegative val="1"/>
            <c:bubble3D val="0"/>
            <c:spPr>
              <a:solidFill>
                <a:srgbClr val="AEABAB"/>
              </a:solidFill>
            </c:spPr>
            <c:extLst>
              <c:ext xmlns:c16="http://schemas.microsoft.com/office/drawing/2014/chart" uri="{C3380CC4-5D6E-409C-BE32-E72D297353CC}">
                <c16:uniqueId val="{0000020B-4C94-472B-89BE-601C63F419F6}"/>
              </c:ext>
            </c:extLst>
          </c:dPt>
          <c:dPt>
            <c:idx val="261"/>
            <c:invertIfNegative val="1"/>
            <c:bubble3D val="0"/>
            <c:spPr>
              <a:solidFill>
                <a:srgbClr val="AEABAB"/>
              </a:solidFill>
            </c:spPr>
            <c:extLst>
              <c:ext xmlns:c16="http://schemas.microsoft.com/office/drawing/2014/chart" uri="{C3380CC4-5D6E-409C-BE32-E72D297353CC}">
                <c16:uniqueId val="{0000020D-4C94-472B-89BE-601C63F419F6}"/>
              </c:ext>
            </c:extLst>
          </c:dPt>
          <c:dPt>
            <c:idx val="262"/>
            <c:invertIfNegative val="1"/>
            <c:bubble3D val="0"/>
            <c:spPr>
              <a:solidFill>
                <a:srgbClr val="AEABAB"/>
              </a:solidFill>
            </c:spPr>
            <c:extLst>
              <c:ext xmlns:c16="http://schemas.microsoft.com/office/drawing/2014/chart" uri="{C3380CC4-5D6E-409C-BE32-E72D297353CC}">
                <c16:uniqueId val="{0000020F-4C94-472B-89BE-601C63F419F6}"/>
              </c:ext>
            </c:extLst>
          </c:dPt>
          <c:dPt>
            <c:idx val="263"/>
            <c:invertIfNegative val="1"/>
            <c:bubble3D val="0"/>
            <c:spPr>
              <a:solidFill>
                <a:srgbClr val="AEABAB"/>
              </a:solidFill>
            </c:spPr>
            <c:extLst>
              <c:ext xmlns:c16="http://schemas.microsoft.com/office/drawing/2014/chart" uri="{C3380CC4-5D6E-409C-BE32-E72D297353CC}">
                <c16:uniqueId val="{00000211-4C94-472B-89BE-601C63F419F6}"/>
              </c:ext>
            </c:extLst>
          </c:dPt>
          <c:dPt>
            <c:idx val="264"/>
            <c:invertIfNegative val="1"/>
            <c:bubble3D val="0"/>
            <c:spPr>
              <a:solidFill>
                <a:srgbClr val="AEABAB"/>
              </a:solidFill>
            </c:spPr>
            <c:extLst>
              <c:ext xmlns:c16="http://schemas.microsoft.com/office/drawing/2014/chart" uri="{C3380CC4-5D6E-409C-BE32-E72D297353CC}">
                <c16:uniqueId val="{00000213-4C94-472B-89BE-601C63F419F6}"/>
              </c:ext>
            </c:extLst>
          </c:dPt>
          <c:dPt>
            <c:idx val="265"/>
            <c:invertIfNegative val="1"/>
            <c:bubble3D val="0"/>
            <c:spPr>
              <a:solidFill>
                <a:srgbClr val="AEABAB"/>
              </a:solidFill>
            </c:spPr>
            <c:extLst>
              <c:ext xmlns:c16="http://schemas.microsoft.com/office/drawing/2014/chart" uri="{C3380CC4-5D6E-409C-BE32-E72D297353CC}">
                <c16:uniqueId val="{00000215-4C94-472B-89BE-601C63F419F6}"/>
              </c:ext>
            </c:extLst>
          </c:dPt>
          <c:dPt>
            <c:idx val="266"/>
            <c:invertIfNegative val="1"/>
            <c:bubble3D val="0"/>
            <c:spPr>
              <a:solidFill>
                <a:srgbClr val="AEABAB"/>
              </a:solidFill>
            </c:spPr>
            <c:extLst>
              <c:ext xmlns:c16="http://schemas.microsoft.com/office/drawing/2014/chart" uri="{C3380CC4-5D6E-409C-BE32-E72D297353CC}">
                <c16:uniqueId val="{00000217-4C94-472B-89BE-601C63F419F6}"/>
              </c:ext>
            </c:extLst>
          </c:dPt>
          <c:dPt>
            <c:idx val="267"/>
            <c:invertIfNegative val="1"/>
            <c:bubble3D val="0"/>
            <c:spPr>
              <a:solidFill>
                <a:srgbClr val="AEABAB"/>
              </a:solidFill>
            </c:spPr>
            <c:extLst>
              <c:ext xmlns:c16="http://schemas.microsoft.com/office/drawing/2014/chart" uri="{C3380CC4-5D6E-409C-BE32-E72D297353CC}">
                <c16:uniqueId val="{00000219-4C94-472B-89BE-601C63F419F6}"/>
              </c:ext>
            </c:extLst>
          </c:dPt>
          <c:dPt>
            <c:idx val="268"/>
            <c:invertIfNegative val="1"/>
            <c:bubble3D val="0"/>
            <c:spPr>
              <a:solidFill>
                <a:srgbClr val="AEABAB"/>
              </a:solidFill>
            </c:spPr>
            <c:extLst>
              <c:ext xmlns:c16="http://schemas.microsoft.com/office/drawing/2014/chart" uri="{C3380CC4-5D6E-409C-BE32-E72D297353CC}">
                <c16:uniqueId val="{0000021B-4C94-472B-89BE-601C63F419F6}"/>
              </c:ext>
            </c:extLst>
          </c:dPt>
          <c:dPt>
            <c:idx val="269"/>
            <c:invertIfNegative val="1"/>
            <c:bubble3D val="0"/>
            <c:spPr>
              <a:solidFill>
                <a:srgbClr val="AEABAB"/>
              </a:solidFill>
            </c:spPr>
            <c:extLst>
              <c:ext xmlns:c16="http://schemas.microsoft.com/office/drawing/2014/chart" uri="{C3380CC4-5D6E-409C-BE32-E72D297353CC}">
                <c16:uniqueId val="{0000021D-4C94-472B-89BE-601C63F419F6}"/>
              </c:ext>
            </c:extLst>
          </c:dPt>
          <c:dPt>
            <c:idx val="270"/>
            <c:invertIfNegative val="1"/>
            <c:bubble3D val="0"/>
            <c:spPr>
              <a:solidFill>
                <a:srgbClr val="AEABAB"/>
              </a:solidFill>
            </c:spPr>
            <c:extLst>
              <c:ext xmlns:c16="http://schemas.microsoft.com/office/drawing/2014/chart" uri="{C3380CC4-5D6E-409C-BE32-E72D297353CC}">
                <c16:uniqueId val="{0000021F-4C94-472B-89BE-601C63F419F6}"/>
              </c:ext>
            </c:extLst>
          </c:dPt>
          <c:dPt>
            <c:idx val="271"/>
            <c:invertIfNegative val="1"/>
            <c:bubble3D val="0"/>
            <c:spPr>
              <a:solidFill>
                <a:srgbClr val="AEABAB"/>
              </a:solidFill>
            </c:spPr>
            <c:extLst>
              <c:ext xmlns:c16="http://schemas.microsoft.com/office/drawing/2014/chart" uri="{C3380CC4-5D6E-409C-BE32-E72D297353CC}">
                <c16:uniqueId val="{00000221-4C94-472B-89BE-601C63F419F6}"/>
              </c:ext>
            </c:extLst>
          </c:dPt>
          <c:dPt>
            <c:idx val="272"/>
            <c:invertIfNegative val="1"/>
            <c:bubble3D val="0"/>
            <c:spPr>
              <a:solidFill>
                <a:srgbClr val="AEABAB"/>
              </a:solidFill>
            </c:spPr>
            <c:extLst>
              <c:ext xmlns:c16="http://schemas.microsoft.com/office/drawing/2014/chart" uri="{C3380CC4-5D6E-409C-BE32-E72D297353CC}">
                <c16:uniqueId val="{00000223-4C94-472B-89BE-601C63F419F6}"/>
              </c:ext>
            </c:extLst>
          </c:dPt>
          <c:dPt>
            <c:idx val="273"/>
            <c:invertIfNegative val="1"/>
            <c:bubble3D val="0"/>
            <c:spPr>
              <a:solidFill>
                <a:srgbClr val="AEABAB"/>
              </a:solidFill>
            </c:spPr>
            <c:extLst>
              <c:ext xmlns:c16="http://schemas.microsoft.com/office/drawing/2014/chart" uri="{C3380CC4-5D6E-409C-BE32-E72D297353CC}">
                <c16:uniqueId val="{00000225-4C94-472B-89BE-601C63F419F6}"/>
              </c:ext>
            </c:extLst>
          </c:dPt>
          <c:dPt>
            <c:idx val="274"/>
            <c:invertIfNegative val="1"/>
            <c:bubble3D val="0"/>
            <c:spPr>
              <a:solidFill>
                <a:srgbClr val="AEABAB"/>
              </a:solidFill>
            </c:spPr>
            <c:extLst>
              <c:ext xmlns:c16="http://schemas.microsoft.com/office/drawing/2014/chart" uri="{C3380CC4-5D6E-409C-BE32-E72D297353CC}">
                <c16:uniqueId val="{00000227-4C94-472B-89BE-601C63F419F6}"/>
              </c:ext>
            </c:extLst>
          </c:dPt>
          <c:dPt>
            <c:idx val="275"/>
            <c:invertIfNegative val="1"/>
            <c:bubble3D val="0"/>
            <c:spPr>
              <a:solidFill>
                <a:srgbClr val="AEABAB"/>
              </a:solidFill>
            </c:spPr>
            <c:extLst>
              <c:ext xmlns:c16="http://schemas.microsoft.com/office/drawing/2014/chart" uri="{C3380CC4-5D6E-409C-BE32-E72D297353CC}">
                <c16:uniqueId val="{00000229-4C94-472B-89BE-601C63F419F6}"/>
              </c:ext>
            </c:extLst>
          </c:dPt>
          <c:dPt>
            <c:idx val="276"/>
            <c:invertIfNegative val="1"/>
            <c:bubble3D val="0"/>
            <c:spPr>
              <a:solidFill>
                <a:srgbClr val="AEABAB"/>
              </a:solidFill>
            </c:spPr>
            <c:extLst>
              <c:ext xmlns:c16="http://schemas.microsoft.com/office/drawing/2014/chart" uri="{C3380CC4-5D6E-409C-BE32-E72D297353CC}">
                <c16:uniqueId val="{0000022B-4C94-472B-89BE-601C63F419F6}"/>
              </c:ext>
            </c:extLst>
          </c:dPt>
          <c:dPt>
            <c:idx val="277"/>
            <c:invertIfNegative val="1"/>
            <c:bubble3D val="0"/>
            <c:spPr>
              <a:solidFill>
                <a:srgbClr val="AEABAB"/>
              </a:solidFill>
            </c:spPr>
            <c:extLst>
              <c:ext xmlns:c16="http://schemas.microsoft.com/office/drawing/2014/chart" uri="{C3380CC4-5D6E-409C-BE32-E72D297353CC}">
                <c16:uniqueId val="{0000022D-4C94-472B-89BE-601C63F419F6}"/>
              </c:ext>
            </c:extLst>
          </c:dPt>
          <c:dPt>
            <c:idx val="278"/>
            <c:invertIfNegative val="1"/>
            <c:bubble3D val="0"/>
            <c:spPr>
              <a:solidFill>
                <a:srgbClr val="AEABAB"/>
              </a:solidFill>
            </c:spPr>
            <c:extLst>
              <c:ext xmlns:c16="http://schemas.microsoft.com/office/drawing/2014/chart" uri="{C3380CC4-5D6E-409C-BE32-E72D297353CC}">
                <c16:uniqueId val="{0000022F-4C94-472B-89BE-601C63F419F6}"/>
              </c:ext>
            </c:extLst>
          </c:dPt>
          <c:dPt>
            <c:idx val="279"/>
            <c:invertIfNegative val="1"/>
            <c:bubble3D val="0"/>
            <c:spPr>
              <a:solidFill>
                <a:srgbClr val="AEABAB"/>
              </a:solidFill>
            </c:spPr>
            <c:extLst>
              <c:ext xmlns:c16="http://schemas.microsoft.com/office/drawing/2014/chart" uri="{C3380CC4-5D6E-409C-BE32-E72D297353CC}">
                <c16:uniqueId val="{00000231-4C94-472B-89BE-601C63F419F6}"/>
              </c:ext>
            </c:extLst>
          </c:dPt>
          <c:dPt>
            <c:idx val="280"/>
            <c:invertIfNegative val="1"/>
            <c:bubble3D val="0"/>
            <c:spPr>
              <a:solidFill>
                <a:srgbClr val="AEABAB"/>
              </a:solidFill>
            </c:spPr>
            <c:extLst>
              <c:ext xmlns:c16="http://schemas.microsoft.com/office/drawing/2014/chart" uri="{C3380CC4-5D6E-409C-BE32-E72D297353CC}">
                <c16:uniqueId val="{00000233-4C94-472B-89BE-601C63F419F6}"/>
              </c:ext>
            </c:extLst>
          </c:dPt>
          <c:dPt>
            <c:idx val="281"/>
            <c:invertIfNegative val="1"/>
            <c:bubble3D val="0"/>
            <c:spPr>
              <a:solidFill>
                <a:srgbClr val="AEABAB"/>
              </a:solidFill>
            </c:spPr>
            <c:extLst>
              <c:ext xmlns:c16="http://schemas.microsoft.com/office/drawing/2014/chart" uri="{C3380CC4-5D6E-409C-BE32-E72D297353CC}">
                <c16:uniqueId val="{00000235-4C94-472B-89BE-601C63F419F6}"/>
              </c:ext>
            </c:extLst>
          </c:dPt>
          <c:dPt>
            <c:idx val="282"/>
            <c:invertIfNegative val="1"/>
            <c:bubble3D val="0"/>
            <c:spPr>
              <a:solidFill>
                <a:srgbClr val="AEABAB"/>
              </a:solidFill>
            </c:spPr>
            <c:extLst>
              <c:ext xmlns:c16="http://schemas.microsoft.com/office/drawing/2014/chart" uri="{C3380CC4-5D6E-409C-BE32-E72D297353CC}">
                <c16:uniqueId val="{00000237-4C94-472B-89BE-601C63F419F6}"/>
              </c:ext>
            </c:extLst>
          </c:dPt>
          <c:dPt>
            <c:idx val="283"/>
            <c:invertIfNegative val="1"/>
            <c:bubble3D val="0"/>
            <c:spPr>
              <a:solidFill>
                <a:srgbClr val="AEABAB"/>
              </a:solidFill>
            </c:spPr>
            <c:extLst>
              <c:ext xmlns:c16="http://schemas.microsoft.com/office/drawing/2014/chart" uri="{C3380CC4-5D6E-409C-BE32-E72D297353CC}">
                <c16:uniqueId val="{00000239-4C94-472B-89BE-601C63F419F6}"/>
              </c:ext>
            </c:extLst>
          </c:dPt>
          <c:dPt>
            <c:idx val="284"/>
            <c:invertIfNegative val="1"/>
            <c:bubble3D val="0"/>
            <c:spPr>
              <a:solidFill>
                <a:srgbClr val="AEABAB"/>
              </a:solidFill>
            </c:spPr>
            <c:extLst>
              <c:ext xmlns:c16="http://schemas.microsoft.com/office/drawing/2014/chart" uri="{C3380CC4-5D6E-409C-BE32-E72D297353CC}">
                <c16:uniqueId val="{0000023B-4C94-472B-89BE-601C63F419F6}"/>
              </c:ext>
            </c:extLst>
          </c:dPt>
          <c:dPt>
            <c:idx val="285"/>
            <c:invertIfNegative val="1"/>
            <c:bubble3D val="0"/>
            <c:spPr>
              <a:solidFill>
                <a:srgbClr val="AEABAB"/>
              </a:solidFill>
            </c:spPr>
            <c:extLst>
              <c:ext xmlns:c16="http://schemas.microsoft.com/office/drawing/2014/chart" uri="{C3380CC4-5D6E-409C-BE32-E72D297353CC}">
                <c16:uniqueId val="{0000023D-4C94-472B-89BE-601C63F419F6}"/>
              </c:ext>
            </c:extLst>
          </c:dPt>
          <c:dPt>
            <c:idx val="286"/>
            <c:invertIfNegative val="1"/>
            <c:bubble3D val="0"/>
            <c:spPr>
              <a:solidFill>
                <a:srgbClr val="AEABAB"/>
              </a:solidFill>
            </c:spPr>
            <c:extLst>
              <c:ext xmlns:c16="http://schemas.microsoft.com/office/drawing/2014/chart" uri="{C3380CC4-5D6E-409C-BE32-E72D297353CC}">
                <c16:uniqueId val="{0000023F-4C94-472B-89BE-601C63F419F6}"/>
              </c:ext>
            </c:extLst>
          </c:dPt>
          <c:dPt>
            <c:idx val="287"/>
            <c:invertIfNegative val="1"/>
            <c:bubble3D val="0"/>
            <c:spPr>
              <a:solidFill>
                <a:srgbClr val="AEABAB"/>
              </a:solidFill>
            </c:spPr>
            <c:extLst>
              <c:ext xmlns:c16="http://schemas.microsoft.com/office/drawing/2014/chart" uri="{C3380CC4-5D6E-409C-BE32-E72D297353CC}">
                <c16:uniqueId val="{00000241-4C94-472B-89BE-601C63F419F6}"/>
              </c:ext>
            </c:extLst>
          </c:dPt>
          <c:dPt>
            <c:idx val="288"/>
            <c:invertIfNegative val="1"/>
            <c:bubble3D val="0"/>
            <c:spPr>
              <a:solidFill>
                <a:srgbClr val="AEABAB"/>
              </a:solidFill>
            </c:spPr>
            <c:extLst>
              <c:ext xmlns:c16="http://schemas.microsoft.com/office/drawing/2014/chart" uri="{C3380CC4-5D6E-409C-BE32-E72D297353CC}">
                <c16:uniqueId val="{00000243-4C94-472B-89BE-601C63F419F6}"/>
              </c:ext>
            </c:extLst>
          </c:dPt>
          <c:dPt>
            <c:idx val="289"/>
            <c:invertIfNegative val="1"/>
            <c:bubble3D val="0"/>
            <c:spPr>
              <a:solidFill>
                <a:srgbClr val="AEABAB"/>
              </a:solidFill>
            </c:spPr>
            <c:extLst>
              <c:ext xmlns:c16="http://schemas.microsoft.com/office/drawing/2014/chart" uri="{C3380CC4-5D6E-409C-BE32-E72D297353CC}">
                <c16:uniqueId val="{00000245-4C94-472B-89BE-601C63F419F6}"/>
              </c:ext>
            </c:extLst>
          </c:dPt>
          <c:dPt>
            <c:idx val="290"/>
            <c:invertIfNegative val="1"/>
            <c:bubble3D val="0"/>
            <c:spPr>
              <a:solidFill>
                <a:srgbClr val="AEABAB"/>
              </a:solidFill>
            </c:spPr>
            <c:extLst>
              <c:ext xmlns:c16="http://schemas.microsoft.com/office/drawing/2014/chart" uri="{C3380CC4-5D6E-409C-BE32-E72D297353CC}">
                <c16:uniqueId val="{00000247-4C94-472B-89BE-601C63F419F6}"/>
              </c:ext>
            </c:extLst>
          </c:dPt>
          <c:dPt>
            <c:idx val="291"/>
            <c:invertIfNegative val="1"/>
            <c:bubble3D val="0"/>
            <c:spPr>
              <a:solidFill>
                <a:srgbClr val="AEABAB"/>
              </a:solidFill>
            </c:spPr>
            <c:extLst>
              <c:ext xmlns:c16="http://schemas.microsoft.com/office/drawing/2014/chart" uri="{C3380CC4-5D6E-409C-BE32-E72D297353CC}">
                <c16:uniqueId val="{00000249-4C94-472B-89BE-601C63F419F6}"/>
              </c:ext>
            </c:extLst>
          </c:dPt>
          <c:dPt>
            <c:idx val="292"/>
            <c:invertIfNegative val="1"/>
            <c:bubble3D val="0"/>
            <c:spPr>
              <a:solidFill>
                <a:srgbClr val="AEABAB"/>
              </a:solidFill>
            </c:spPr>
            <c:extLst>
              <c:ext xmlns:c16="http://schemas.microsoft.com/office/drawing/2014/chart" uri="{C3380CC4-5D6E-409C-BE32-E72D297353CC}">
                <c16:uniqueId val="{0000024B-4C94-472B-89BE-601C63F419F6}"/>
              </c:ext>
            </c:extLst>
          </c:dPt>
          <c:dPt>
            <c:idx val="293"/>
            <c:invertIfNegative val="1"/>
            <c:bubble3D val="0"/>
            <c:spPr>
              <a:solidFill>
                <a:srgbClr val="AEABAB"/>
              </a:solidFill>
            </c:spPr>
            <c:extLst>
              <c:ext xmlns:c16="http://schemas.microsoft.com/office/drawing/2014/chart" uri="{C3380CC4-5D6E-409C-BE32-E72D297353CC}">
                <c16:uniqueId val="{0000024D-4C94-472B-89BE-601C63F419F6}"/>
              </c:ext>
            </c:extLst>
          </c:dPt>
          <c:dPt>
            <c:idx val="294"/>
            <c:invertIfNegative val="1"/>
            <c:bubble3D val="0"/>
            <c:spPr>
              <a:solidFill>
                <a:srgbClr val="AEABAB"/>
              </a:solidFill>
            </c:spPr>
            <c:extLst>
              <c:ext xmlns:c16="http://schemas.microsoft.com/office/drawing/2014/chart" uri="{C3380CC4-5D6E-409C-BE32-E72D297353CC}">
                <c16:uniqueId val="{0000024F-4C94-472B-89BE-601C63F419F6}"/>
              </c:ext>
            </c:extLst>
          </c:dPt>
          <c:dPt>
            <c:idx val="295"/>
            <c:invertIfNegative val="1"/>
            <c:bubble3D val="0"/>
            <c:spPr>
              <a:solidFill>
                <a:srgbClr val="AEABAB"/>
              </a:solidFill>
            </c:spPr>
            <c:extLst>
              <c:ext xmlns:c16="http://schemas.microsoft.com/office/drawing/2014/chart" uri="{C3380CC4-5D6E-409C-BE32-E72D297353CC}">
                <c16:uniqueId val="{00000251-4C94-472B-89BE-601C63F419F6}"/>
              </c:ext>
            </c:extLst>
          </c:dPt>
          <c:dPt>
            <c:idx val="296"/>
            <c:invertIfNegative val="1"/>
            <c:bubble3D val="0"/>
            <c:spPr>
              <a:solidFill>
                <a:srgbClr val="AEABAB"/>
              </a:solidFill>
            </c:spPr>
            <c:extLst>
              <c:ext xmlns:c16="http://schemas.microsoft.com/office/drawing/2014/chart" uri="{C3380CC4-5D6E-409C-BE32-E72D297353CC}">
                <c16:uniqueId val="{00000253-4C94-472B-89BE-601C63F419F6}"/>
              </c:ext>
            </c:extLst>
          </c:dPt>
          <c:dPt>
            <c:idx val="297"/>
            <c:invertIfNegative val="1"/>
            <c:bubble3D val="0"/>
            <c:spPr>
              <a:solidFill>
                <a:srgbClr val="AEABAB"/>
              </a:solidFill>
            </c:spPr>
            <c:extLst>
              <c:ext xmlns:c16="http://schemas.microsoft.com/office/drawing/2014/chart" uri="{C3380CC4-5D6E-409C-BE32-E72D297353CC}">
                <c16:uniqueId val="{00000255-4C94-472B-89BE-601C63F419F6}"/>
              </c:ext>
            </c:extLst>
          </c:dPt>
          <c:dPt>
            <c:idx val="298"/>
            <c:invertIfNegative val="1"/>
            <c:bubble3D val="0"/>
            <c:spPr>
              <a:solidFill>
                <a:srgbClr val="AEABAB"/>
              </a:solidFill>
            </c:spPr>
            <c:extLst>
              <c:ext xmlns:c16="http://schemas.microsoft.com/office/drawing/2014/chart" uri="{C3380CC4-5D6E-409C-BE32-E72D297353CC}">
                <c16:uniqueId val="{00000257-4C94-472B-89BE-601C63F419F6}"/>
              </c:ext>
            </c:extLst>
          </c:dPt>
          <c:dPt>
            <c:idx val="299"/>
            <c:invertIfNegative val="1"/>
            <c:bubble3D val="0"/>
            <c:spPr>
              <a:solidFill>
                <a:srgbClr val="AEABAB"/>
              </a:solidFill>
            </c:spPr>
            <c:extLst>
              <c:ext xmlns:c16="http://schemas.microsoft.com/office/drawing/2014/chart" uri="{C3380CC4-5D6E-409C-BE32-E72D297353CC}">
                <c16:uniqueId val="{00000259-4C94-472B-89BE-601C63F419F6}"/>
              </c:ext>
            </c:extLst>
          </c:dPt>
          <c:dPt>
            <c:idx val="300"/>
            <c:invertIfNegative val="1"/>
            <c:bubble3D val="0"/>
            <c:spPr>
              <a:solidFill>
                <a:srgbClr val="AEABAB"/>
              </a:solidFill>
            </c:spPr>
            <c:extLst>
              <c:ext xmlns:c16="http://schemas.microsoft.com/office/drawing/2014/chart" uri="{C3380CC4-5D6E-409C-BE32-E72D297353CC}">
                <c16:uniqueId val="{0000025B-4C94-472B-89BE-601C63F419F6}"/>
              </c:ext>
            </c:extLst>
          </c:dPt>
          <c:dPt>
            <c:idx val="301"/>
            <c:invertIfNegative val="1"/>
            <c:bubble3D val="0"/>
            <c:spPr>
              <a:solidFill>
                <a:srgbClr val="AEABAB"/>
              </a:solidFill>
            </c:spPr>
            <c:extLst>
              <c:ext xmlns:c16="http://schemas.microsoft.com/office/drawing/2014/chart" uri="{C3380CC4-5D6E-409C-BE32-E72D297353CC}">
                <c16:uniqueId val="{0000025D-4C94-472B-89BE-601C63F419F6}"/>
              </c:ext>
            </c:extLst>
          </c:dPt>
          <c:dPt>
            <c:idx val="302"/>
            <c:invertIfNegative val="1"/>
            <c:bubble3D val="0"/>
            <c:spPr>
              <a:solidFill>
                <a:srgbClr val="AEABAB"/>
              </a:solidFill>
            </c:spPr>
            <c:extLst>
              <c:ext xmlns:c16="http://schemas.microsoft.com/office/drawing/2014/chart" uri="{C3380CC4-5D6E-409C-BE32-E72D297353CC}">
                <c16:uniqueId val="{0000025F-4C94-472B-89BE-601C63F419F6}"/>
              </c:ext>
            </c:extLst>
          </c:dPt>
          <c:dPt>
            <c:idx val="303"/>
            <c:invertIfNegative val="1"/>
            <c:bubble3D val="0"/>
            <c:spPr>
              <a:solidFill>
                <a:srgbClr val="AEABAB"/>
              </a:solidFill>
            </c:spPr>
            <c:extLst>
              <c:ext xmlns:c16="http://schemas.microsoft.com/office/drawing/2014/chart" uri="{C3380CC4-5D6E-409C-BE32-E72D297353CC}">
                <c16:uniqueId val="{00000261-4C94-472B-89BE-601C63F419F6}"/>
              </c:ext>
            </c:extLst>
          </c:dPt>
          <c:dPt>
            <c:idx val="304"/>
            <c:invertIfNegative val="1"/>
            <c:bubble3D val="0"/>
            <c:spPr>
              <a:solidFill>
                <a:srgbClr val="AEABAB"/>
              </a:solidFill>
            </c:spPr>
            <c:extLst>
              <c:ext xmlns:c16="http://schemas.microsoft.com/office/drawing/2014/chart" uri="{C3380CC4-5D6E-409C-BE32-E72D297353CC}">
                <c16:uniqueId val="{00000263-4C94-472B-89BE-601C63F419F6}"/>
              </c:ext>
            </c:extLst>
          </c:dPt>
          <c:dPt>
            <c:idx val="305"/>
            <c:invertIfNegative val="1"/>
            <c:bubble3D val="0"/>
            <c:spPr>
              <a:solidFill>
                <a:srgbClr val="AEABAB"/>
              </a:solidFill>
            </c:spPr>
            <c:extLst>
              <c:ext xmlns:c16="http://schemas.microsoft.com/office/drawing/2014/chart" uri="{C3380CC4-5D6E-409C-BE32-E72D297353CC}">
                <c16:uniqueId val="{00000265-4C94-472B-89BE-601C63F419F6}"/>
              </c:ext>
            </c:extLst>
          </c:dPt>
          <c:dPt>
            <c:idx val="306"/>
            <c:invertIfNegative val="1"/>
            <c:bubble3D val="0"/>
            <c:spPr>
              <a:solidFill>
                <a:srgbClr val="AEABAB"/>
              </a:solidFill>
            </c:spPr>
            <c:extLst>
              <c:ext xmlns:c16="http://schemas.microsoft.com/office/drawing/2014/chart" uri="{C3380CC4-5D6E-409C-BE32-E72D297353CC}">
                <c16:uniqueId val="{00000267-4C94-472B-89BE-601C63F419F6}"/>
              </c:ext>
            </c:extLst>
          </c:dPt>
          <c:dPt>
            <c:idx val="307"/>
            <c:invertIfNegative val="1"/>
            <c:bubble3D val="0"/>
            <c:spPr>
              <a:solidFill>
                <a:srgbClr val="AEABAB"/>
              </a:solidFill>
            </c:spPr>
            <c:extLst>
              <c:ext xmlns:c16="http://schemas.microsoft.com/office/drawing/2014/chart" uri="{C3380CC4-5D6E-409C-BE32-E72D297353CC}">
                <c16:uniqueId val="{00000269-4C94-472B-89BE-601C63F419F6}"/>
              </c:ext>
            </c:extLst>
          </c:dPt>
          <c:dPt>
            <c:idx val="308"/>
            <c:invertIfNegative val="1"/>
            <c:bubble3D val="0"/>
            <c:spPr>
              <a:solidFill>
                <a:srgbClr val="AEABAB"/>
              </a:solidFill>
            </c:spPr>
            <c:extLst>
              <c:ext xmlns:c16="http://schemas.microsoft.com/office/drawing/2014/chart" uri="{C3380CC4-5D6E-409C-BE32-E72D297353CC}">
                <c16:uniqueId val="{0000026B-4C94-472B-89BE-601C63F419F6}"/>
              </c:ext>
            </c:extLst>
          </c:dPt>
          <c:dPt>
            <c:idx val="309"/>
            <c:invertIfNegative val="1"/>
            <c:bubble3D val="0"/>
            <c:spPr>
              <a:solidFill>
                <a:srgbClr val="AEABAB"/>
              </a:solidFill>
            </c:spPr>
            <c:extLst>
              <c:ext xmlns:c16="http://schemas.microsoft.com/office/drawing/2014/chart" uri="{C3380CC4-5D6E-409C-BE32-E72D297353CC}">
                <c16:uniqueId val="{0000026D-4C94-472B-89BE-601C63F419F6}"/>
              </c:ext>
            </c:extLst>
          </c:dPt>
          <c:dPt>
            <c:idx val="310"/>
            <c:invertIfNegative val="1"/>
            <c:bubble3D val="0"/>
            <c:spPr>
              <a:solidFill>
                <a:srgbClr val="AEABAB"/>
              </a:solidFill>
            </c:spPr>
            <c:extLst>
              <c:ext xmlns:c16="http://schemas.microsoft.com/office/drawing/2014/chart" uri="{C3380CC4-5D6E-409C-BE32-E72D297353CC}">
                <c16:uniqueId val="{0000026F-4C94-472B-89BE-601C63F419F6}"/>
              </c:ext>
            </c:extLst>
          </c:dPt>
          <c:dPt>
            <c:idx val="311"/>
            <c:invertIfNegative val="1"/>
            <c:bubble3D val="0"/>
            <c:spPr>
              <a:solidFill>
                <a:srgbClr val="AEABAB"/>
              </a:solidFill>
            </c:spPr>
            <c:extLst>
              <c:ext xmlns:c16="http://schemas.microsoft.com/office/drawing/2014/chart" uri="{C3380CC4-5D6E-409C-BE32-E72D297353CC}">
                <c16:uniqueId val="{00000271-4C94-472B-89BE-601C63F419F6}"/>
              </c:ext>
            </c:extLst>
          </c:dPt>
          <c:dPt>
            <c:idx val="312"/>
            <c:invertIfNegative val="1"/>
            <c:bubble3D val="0"/>
            <c:spPr>
              <a:solidFill>
                <a:srgbClr val="AEABAB"/>
              </a:solidFill>
            </c:spPr>
            <c:extLst>
              <c:ext xmlns:c16="http://schemas.microsoft.com/office/drawing/2014/chart" uri="{C3380CC4-5D6E-409C-BE32-E72D297353CC}">
                <c16:uniqueId val="{00000273-4C94-472B-89BE-601C63F419F6}"/>
              </c:ext>
            </c:extLst>
          </c:dPt>
          <c:dPt>
            <c:idx val="313"/>
            <c:invertIfNegative val="1"/>
            <c:bubble3D val="0"/>
            <c:spPr>
              <a:solidFill>
                <a:srgbClr val="AEABAB"/>
              </a:solidFill>
            </c:spPr>
            <c:extLst>
              <c:ext xmlns:c16="http://schemas.microsoft.com/office/drawing/2014/chart" uri="{C3380CC4-5D6E-409C-BE32-E72D297353CC}">
                <c16:uniqueId val="{00000275-4C94-472B-89BE-601C63F419F6}"/>
              </c:ext>
            </c:extLst>
          </c:dPt>
          <c:dPt>
            <c:idx val="314"/>
            <c:invertIfNegative val="1"/>
            <c:bubble3D val="0"/>
            <c:spPr>
              <a:solidFill>
                <a:srgbClr val="AEABAB"/>
              </a:solidFill>
            </c:spPr>
            <c:extLst>
              <c:ext xmlns:c16="http://schemas.microsoft.com/office/drawing/2014/chart" uri="{C3380CC4-5D6E-409C-BE32-E72D297353CC}">
                <c16:uniqueId val="{00000277-4C94-472B-89BE-601C63F419F6}"/>
              </c:ext>
            </c:extLst>
          </c:dPt>
          <c:dPt>
            <c:idx val="315"/>
            <c:invertIfNegative val="1"/>
            <c:bubble3D val="0"/>
            <c:spPr>
              <a:solidFill>
                <a:srgbClr val="AEABAB"/>
              </a:solidFill>
            </c:spPr>
            <c:extLst>
              <c:ext xmlns:c16="http://schemas.microsoft.com/office/drawing/2014/chart" uri="{C3380CC4-5D6E-409C-BE32-E72D297353CC}">
                <c16:uniqueId val="{00000279-4C94-472B-89BE-601C63F419F6}"/>
              </c:ext>
            </c:extLst>
          </c:dPt>
          <c:dPt>
            <c:idx val="316"/>
            <c:invertIfNegative val="1"/>
            <c:bubble3D val="0"/>
            <c:spPr>
              <a:solidFill>
                <a:srgbClr val="AEABAB"/>
              </a:solidFill>
            </c:spPr>
            <c:extLst>
              <c:ext xmlns:c16="http://schemas.microsoft.com/office/drawing/2014/chart" uri="{C3380CC4-5D6E-409C-BE32-E72D297353CC}">
                <c16:uniqueId val="{0000027B-4C94-472B-89BE-601C63F419F6}"/>
              </c:ext>
            </c:extLst>
          </c:dPt>
          <c:dPt>
            <c:idx val="317"/>
            <c:invertIfNegative val="1"/>
            <c:bubble3D val="0"/>
            <c:spPr>
              <a:solidFill>
                <a:srgbClr val="AEABAB"/>
              </a:solidFill>
            </c:spPr>
            <c:extLst>
              <c:ext xmlns:c16="http://schemas.microsoft.com/office/drawing/2014/chart" uri="{C3380CC4-5D6E-409C-BE32-E72D297353CC}">
                <c16:uniqueId val="{0000027D-4C94-472B-89BE-601C63F419F6}"/>
              </c:ext>
            </c:extLst>
          </c:dPt>
          <c:dPt>
            <c:idx val="318"/>
            <c:invertIfNegative val="1"/>
            <c:bubble3D val="0"/>
            <c:spPr>
              <a:solidFill>
                <a:srgbClr val="AEABAB"/>
              </a:solidFill>
            </c:spPr>
            <c:extLst>
              <c:ext xmlns:c16="http://schemas.microsoft.com/office/drawing/2014/chart" uri="{C3380CC4-5D6E-409C-BE32-E72D297353CC}">
                <c16:uniqueId val="{0000027F-4C94-472B-89BE-601C63F419F6}"/>
              </c:ext>
            </c:extLst>
          </c:dPt>
          <c:dPt>
            <c:idx val="319"/>
            <c:invertIfNegative val="1"/>
            <c:bubble3D val="0"/>
            <c:spPr>
              <a:solidFill>
                <a:srgbClr val="AEABAB"/>
              </a:solidFill>
            </c:spPr>
            <c:extLst>
              <c:ext xmlns:c16="http://schemas.microsoft.com/office/drawing/2014/chart" uri="{C3380CC4-5D6E-409C-BE32-E72D297353CC}">
                <c16:uniqueId val="{00000281-4C94-472B-89BE-601C63F419F6}"/>
              </c:ext>
            </c:extLst>
          </c:dPt>
          <c:dPt>
            <c:idx val="320"/>
            <c:invertIfNegative val="1"/>
            <c:bubble3D val="0"/>
            <c:spPr>
              <a:solidFill>
                <a:srgbClr val="AEABAB"/>
              </a:solidFill>
            </c:spPr>
            <c:extLst>
              <c:ext xmlns:c16="http://schemas.microsoft.com/office/drawing/2014/chart" uri="{C3380CC4-5D6E-409C-BE32-E72D297353CC}">
                <c16:uniqueId val="{00000283-4C94-472B-89BE-601C63F419F6}"/>
              </c:ext>
            </c:extLst>
          </c:dPt>
          <c:dPt>
            <c:idx val="321"/>
            <c:invertIfNegative val="1"/>
            <c:bubble3D val="0"/>
            <c:spPr>
              <a:solidFill>
                <a:srgbClr val="AEABAB"/>
              </a:solidFill>
            </c:spPr>
            <c:extLst>
              <c:ext xmlns:c16="http://schemas.microsoft.com/office/drawing/2014/chart" uri="{C3380CC4-5D6E-409C-BE32-E72D297353CC}">
                <c16:uniqueId val="{00000285-4C94-472B-89BE-601C63F419F6}"/>
              </c:ext>
            </c:extLst>
          </c:dPt>
          <c:dPt>
            <c:idx val="322"/>
            <c:invertIfNegative val="1"/>
            <c:bubble3D val="0"/>
            <c:spPr>
              <a:solidFill>
                <a:srgbClr val="AEABAB"/>
              </a:solidFill>
            </c:spPr>
            <c:extLst>
              <c:ext xmlns:c16="http://schemas.microsoft.com/office/drawing/2014/chart" uri="{C3380CC4-5D6E-409C-BE32-E72D297353CC}">
                <c16:uniqueId val="{00000287-4C94-472B-89BE-601C63F419F6}"/>
              </c:ext>
            </c:extLst>
          </c:dPt>
          <c:dPt>
            <c:idx val="323"/>
            <c:invertIfNegative val="1"/>
            <c:bubble3D val="0"/>
            <c:spPr>
              <a:solidFill>
                <a:srgbClr val="AEABAB"/>
              </a:solidFill>
            </c:spPr>
            <c:extLst>
              <c:ext xmlns:c16="http://schemas.microsoft.com/office/drawing/2014/chart" uri="{C3380CC4-5D6E-409C-BE32-E72D297353CC}">
                <c16:uniqueId val="{00000289-4C94-472B-89BE-601C63F419F6}"/>
              </c:ext>
            </c:extLst>
          </c:dPt>
          <c:dPt>
            <c:idx val="324"/>
            <c:invertIfNegative val="1"/>
            <c:bubble3D val="0"/>
            <c:spPr>
              <a:solidFill>
                <a:srgbClr val="AEABAB"/>
              </a:solidFill>
            </c:spPr>
            <c:extLst>
              <c:ext xmlns:c16="http://schemas.microsoft.com/office/drawing/2014/chart" uri="{C3380CC4-5D6E-409C-BE32-E72D297353CC}">
                <c16:uniqueId val="{0000028B-4C94-472B-89BE-601C63F419F6}"/>
              </c:ext>
            </c:extLst>
          </c:dPt>
          <c:dPt>
            <c:idx val="325"/>
            <c:invertIfNegative val="1"/>
            <c:bubble3D val="0"/>
            <c:spPr>
              <a:solidFill>
                <a:srgbClr val="AEABAB"/>
              </a:solidFill>
            </c:spPr>
            <c:extLst>
              <c:ext xmlns:c16="http://schemas.microsoft.com/office/drawing/2014/chart" uri="{C3380CC4-5D6E-409C-BE32-E72D297353CC}">
                <c16:uniqueId val="{0000028D-4C94-472B-89BE-601C63F419F6}"/>
              </c:ext>
            </c:extLst>
          </c:dPt>
          <c:dPt>
            <c:idx val="326"/>
            <c:invertIfNegative val="1"/>
            <c:bubble3D val="0"/>
            <c:spPr>
              <a:solidFill>
                <a:srgbClr val="AEABAB"/>
              </a:solidFill>
            </c:spPr>
            <c:extLst>
              <c:ext xmlns:c16="http://schemas.microsoft.com/office/drawing/2014/chart" uri="{C3380CC4-5D6E-409C-BE32-E72D297353CC}">
                <c16:uniqueId val="{0000028F-4C94-472B-89BE-601C63F419F6}"/>
              </c:ext>
            </c:extLst>
          </c:dPt>
          <c:dPt>
            <c:idx val="327"/>
            <c:invertIfNegative val="1"/>
            <c:bubble3D val="0"/>
            <c:spPr>
              <a:solidFill>
                <a:srgbClr val="AEABAB"/>
              </a:solidFill>
            </c:spPr>
            <c:extLst>
              <c:ext xmlns:c16="http://schemas.microsoft.com/office/drawing/2014/chart" uri="{C3380CC4-5D6E-409C-BE32-E72D297353CC}">
                <c16:uniqueId val="{00000291-4C94-472B-89BE-601C63F419F6}"/>
              </c:ext>
            </c:extLst>
          </c:dPt>
          <c:dPt>
            <c:idx val="328"/>
            <c:invertIfNegative val="1"/>
            <c:bubble3D val="0"/>
            <c:spPr>
              <a:solidFill>
                <a:srgbClr val="AEABAB"/>
              </a:solidFill>
            </c:spPr>
            <c:extLst>
              <c:ext xmlns:c16="http://schemas.microsoft.com/office/drawing/2014/chart" uri="{C3380CC4-5D6E-409C-BE32-E72D297353CC}">
                <c16:uniqueId val="{00000293-4C94-472B-89BE-601C63F419F6}"/>
              </c:ext>
            </c:extLst>
          </c:dPt>
          <c:dPt>
            <c:idx val="329"/>
            <c:invertIfNegative val="1"/>
            <c:bubble3D val="0"/>
            <c:spPr>
              <a:solidFill>
                <a:srgbClr val="AEABAB"/>
              </a:solidFill>
            </c:spPr>
            <c:extLst>
              <c:ext xmlns:c16="http://schemas.microsoft.com/office/drawing/2014/chart" uri="{C3380CC4-5D6E-409C-BE32-E72D297353CC}">
                <c16:uniqueId val="{00000295-4C94-472B-89BE-601C63F419F6}"/>
              </c:ext>
            </c:extLst>
          </c:dPt>
          <c:dPt>
            <c:idx val="330"/>
            <c:invertIfNegative val="1"/>
            <c:bubble3D val="0"/>
            <c:spPr>
              <a:solidFill>
                <a:srgbClr val="AEABAB"/>
              </a:solidFill>
            </c:spPr>
            <c:extLst>
              <c:ext xmlns:c16="http://schemas.microsoft.com/office/drawing/2014/chart" uri="{C3380CC4-5D6E-409C-BE32-E72D297353CC}">
                <c16:uniqueId val="{00000297-4C94-472B-89BE-601C63F419F6}"/>
              </c:ext>
            </c:extLst>
          </c:dPt>
          <c:dPt>
            <c:idx val="331"/>
            <c:invertIfNegative val="1"/>
            <c:bubble3D val="0"/>
            <c:spPr>
              <a:solidFill>
                <a:srgbClr val="AEABAB"/>
              </a:solidFill>
            </c:spPr>
            <c:extLst>
              <c:ext xmlns:c16="http://schemas.microsoft.com/office/drawing/2014/chart" uri="{C3380CC4-5D6E-409C-BE32-E72D297353CC}">
                <c16:uniqueId val="{00000299-4C94-472B-89BE-601C63F419F6}"/>
              </c:ext>
            </c:extLst>
          </c:dPt>
          <c:dPt>
            <c:idx val="332"/>
            <c:invertIfNegative val="1"/>
            <c:bubble3D val="0"/>
            <c:spPr>
              <a:solidFill>
                <a:srgbClr val="AEABAB"/>
              </a:solidFill>
            </c:spPr>
            <c:extLst>
              <c:ext xmlns:c16="http://schemas.microsoft.com/office/drawing/2014/chart" uri="{C3380CC4-5D6E-409C-BE32-E72D297353CC}">
                <c16:uniqueId val="{0000029B-4C94-472B-89BE-601C63F419F6}"/>
              </c:ext>
            </c:extLst>
          </c:dPt>
          <c:dPt>
            <c:idx val="333"/>
            <c:invertIfNegative val="1"/>
            <c:bubble3D val="0"/>
            <c:spPr>
              <a:solidFill>
                <a:srgbClr val="AEABAB"/>
              </a:solidFill>
            </c:spPr>
            <c:extLst>
              <c:ext xmlns:c16="http://schemas.microsoft.com/office/drawing/2014/chart" uri="{C3380CC4-5D6E-409C-BE32-E72D297353CC}">
                <c16:uniqueId val="{0000029D-4C94-472B-89BE-601C63F419F6}"/>
              </c:ext>
            </c:extLst>
          </c:dPt>
          <c:dPt>
            <c:idx val="334"/>
            <c:invertIfNegative val="1"/>
            <c:bubble3D val="0"/>
            <c:spPr>
              <a:solidFill>
                <a:srgbClr val="AEABAB"/>
              </a:solidFill>
            </c:spPr>
            <c:extLst>
              <c:ext xmlns:c16="http://schemas.microsoft.com/office/drawing/2014/chart" uri="{C3380CC4-5D6E-409C-BE32-E72D297353CC}">
                <c16:uniqueId val="{0000029F-4C94-472B-89BE-601C63F419F6}"/>
              </c:ext>
            </c:extLst>
          </c:dPt>
          <c:dPt>
            <c:idx val="335"/>
            <c:invertIfNegative val="1"/>
            <c:bubble3D val="0"/>
            <c:spPr>
              <a:solidFill>
                <a:srgbClr val="AEABAB"/>
              </a:solidFill>
            </c:spPr>
            <c:extLst>
              <c:ext xmlns:c16="http://schemas.microsoft.com/office/drawing/2014/chart" uri="{C3380CC4-5D6E-409C-BE32-E72D297353CC}">
                <c16:uniqueId val="{000002A1-4C94-472B-89BE-601C63F419F6}"/>
              </c:ext>
            </c:extLst>
          </c:dPt>
          <c:dPt>
            <c:idx val="336"/>
            <c:invertIfNegative val="1"/>
            <c:bubble3D val="0"/>
            <c:spPr>
              <a:solidFill>
                <a:srgbClr val="AEABAB"/>
              </a:solidFill>
            </c:spPr>
            <c:extLst>
              <c:ext xmlns:c16="http://schemas.microsoft.com/office/drawing/2014/chart" uri="{C3380CC4-5D6E-409C-BE32-E72D297353CC}">
                <c16:uniqueId val="{000002A3-4C94-472B-89BE-601C63F419F6}"/>
              </c:ext>
            </c:extLst>
          </c:dPt>
          <c:dPt>
            <c:idx val="337"/>
            <c:invertIfNegative val="1"/>
            <c:bubble3D val="0"/>
            <c:spPr>
              <a:solidFill>
                <a:srgbClr val="AEABAB"/>
              </a:solidFill>
            </c:spPr>
            <c:extLst>
              <c:ext xmlns:c16="http://schemas.microsoft.com/office/drawing/2014/chart" uri="{C3380CC4-5D6E-409C-BE32-E72D297353CC}">
                <c16:uniqueId val="{000002A5-4C94-472B-89BE-601C63F419F6}"/>
              </c:ext>
            </c:extLst>
          </c:dPt>
          <c:dPt>
            <c:idx val="338"/>
            <c:invertIfNegative val="1"/>
            <c:bubble3D val="0"/>
            <c:spPr>
              <a:solidFill>
                <a:srgbClr val="AEABAB"/>
              </a:solidFill>
            </c:spPr>
            <c:extLst>
              <c:ext xmlns:c16="http://schemas.microsoft.com/office/drawing/2014/chart" uri="{C3380CC4-5D6E-409C-BE32-E72D297353CC}">
                <c16:uniqueId val="{000002A7-4C94-472B-89BE-601C63F419F6}"/>
              </c:ext>
            </c:extLst>
          </c:dPt>
          <c:dPt>
            <c:idx val="339"/>
            <c:invertIfNegative val="1"/>
            <c:bubble3D val="0"/>
            <c:spPr>
              <a:solidFill>
                <a:srgbClr val="AEABAB"/>
              </a:solidFill>
            </c:spPr>
            <c:extLst>
              <c:ext xmlns:c16="http://schemas.microsoft.com/office/drawing/2014/chart" uri="{C3380CC4-5D6E-409C-BE32-E72D297353CC}">
                <c16:uniqueId val="{000002A9-4C94-472B-89BE-601C63F419F6}"/>
              </c:ext>
            </c:extLst>
          </c:dPt>
          <c:dPt>
            <c:idx val="340"/>
            <c:invertIfNegative val="1"/>
            <c:bubble3D val="0"/>
            <c:spPr>
              <a:solidFill>
                <a:srgbClr val="AEABAB"/>
              </a:solidFill>
            </c:spPr>
            <c:extLst>
              <c:ext xmlns:c16="http://schemas.microsoft.com/office/drawing/2014/chart" uri="{C3380CC4-5D6E-409C-BE32-E72D297353CC}">
                <c16:uniqueId val="{000002AB-4C94-472B-89BE-601C63F419F6}"/>
              </c:ext>
            </c:extLst>
          </c:dPt>
          <c:cat>
            <c:strRef>
              <c:f>Sheet1!$A$2:$A$342</c:f>
              <c:strCache>
                <c:ptCount val="341"/>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Bic</c:v>
                </c:pt>
                <c:pt idx="26">
                  <c:v>Gillette</c:v>
                </c:pt>
                <c:pt idx="27">
                  <c:v>Schick</c:v>
                </c:pt>
                <c:pt idx="28">
                  <c:v>Gillette</c:v>
                </c:pt>
                <c:pt idx="29">
                  <c:v>Gillette</c:v>
                </c:pt>
                <c:pt idx="30">
                  <c:v>Gillette</c:v>
                </c:pt>
                <c:pt idx="31">
                  <c:v>Bic</c:v>
                </c:pt>
                <c:pt idx="32">
                  <c:v>Schick</c:v>
                </c:pt>
                <c:pt idx="33">
                  <c:v>Dollar Shav</c:v>
                </c:pt>
                <c:pt idx="34">
                  <c:v>Equate</c:v>
                </c:pt>
                <c:pt idx="35">
                  <c:v>Dollar Shav</c:v>
                </c:pt>
                <c:pt idx="36">
                  <c:v>Gillette</c:v>
                </c:pt>
                <c:pt idx="37">
                  <c:v>Gillette</c:v>
                </c:pt>
                <c:pt idx="38">
                  <c:v>Schick</c:v>
                </c:pt>
                <c:pt idx="39">
                  <c:v>Schick</c:v>
                </c:pt>
                <c:pt idx="40">
                  <c:v>Harry's</c:v>
                </c:pt>
                <c:pt idx="41">
                  <c:v>Gillette</c:v>
                </c:pt>
                <c:pt idx="42">
                  <c:v>Gillette</c:v>
                </c:pt>
                <c:pt idx="43">
                  <c:v>Schick</c:v>
                </c:pt>
                <c:pt idx="44">
                  <c:v>Gillette</c:v>
                </c:pt>
                <c:pt idx="45">
                  <c:v>Bic</c:v>
                </c:pt>
                <c:pt idx="46">
                  <c:v>Gillette</c:v>
                </c:pt>
                <c:pt idx="47">
                  <c:v>Equate</c:v>
                </c:pt>
                <c:pt idx="48">
                  <c:v>Gillette</c:v>
                </c:pt>
                <c:pt idx="49">
                  <c:v>Gillette</c:v>
                </c:pt>
                <c:pt idx="50">
                  <c:v>Equate</c:v>
                </c:pt>
                <c:pt idx="51">
                  <c:v>Bic</c:v>
                </c:pt>
                <c:pt idx="52">
                  <c:v>Gillette</c:v>
                </c:pt>
                <c:pt idx="53">
                  <c:v>Bic</c:v>
                </c:pt>
                <c:pt idx="54">
                  <c:v>Equate</c:v>
                </c:pt>
                <c:pt idx="55">
                  <c:v>Schick</c:v>
                </c:pt>
                <c:pt idx="56">
                  <c:v>Bic</c:v>
                </c:pt>
                <c:pt idx="57">
                  <c:v>Bic</c:v>
                </c:pt>
                <c:pt idx="58">
                  <c:v>Bic</c:v>
                </c:pt>
                <c:pt idx="59">
                  <c:v>Van Der Hag</c:v>
                </c:pt>
                <c:pt idx="60">
                  <c:v>Equate</c:v>
                </c:pt>
                <c:pt idx="61">
                  <c:v>Gillette</c:v>
                </c:pt>
                <c:pt idx="62">
                  <c:v>Dollar Shav</c:v>
                </c:pt>
                <c:pt idx="63">
                  <c:v>Schick</c:v>
                </c:pt>
                <c:pt idx="64">
                  <c:v>Comfort 3</c:v>
                </c:pt>
                <c:pt idx="65">
                  <c:v>Gillette</c:v>
                </c:pt>
                <c:pt idx="66">
                  <c:v>Bic</c:v>
                </c:pt>
                <c:pt idx="67">
                  <c:v>Van Der Hag</c:v>
                </c:pt>
                <c:pt idx="68">
                  <c:v>Gillette</c:v>
                </c:pt>
                <c:pt idx="69">
                  <c:v>Gillette</c:v>
                </c:pt>
                <c:pt idx="70">
                  <c:v>Equate</c:v>
                </c:pt>
                <c:pt idx="71">
                  <c:v>Gillette</c:v>
                </c:pt>
                <c:pt idx="72">
                  <c:v>Comfort 3</c:v>
                </c:pt>
                <c:pt idx="73">
                  <c:v>Gillette</c:v>
                </c:pt>
                <c:pt idx="74">
                  <c:v>Equate</c:v>
                </c:pt>
                <c:pt idx="75">
                  <c:v>Harry's</c:v>
                </c:pt>
                <c:pt idx="76">
                  <c:v>Bic</c:v>
                </c:pt>
                <c:pt idx="77">
                  <c:v>Gillette</c:v>
                </c:pt>
                <c:pt idx="78">
                  <c:v>Gillette</c:v>
                </c:pt>
                <c:pt idx="79">
                  <c:v>Equate</c:v>
                </c:pt>
                <c:pt idx="80">
                  <c:v>Bic</c:v>
                </c:pt>
                <c:pt idx="81">
                  <c:v>Gillette</c:v>
                </c:pt>
                <c:pt idx="82">
                  <c:v>Bic</c:v>
                </c:pt>
                <c:pt idx="83">
                  <c:v>Gillette</c:v>
                </c:pt>
                <c:pt idx="84">
                  <c:v>Bic</c:v>
                </c:pt>
                <c:pt idx="85">
                  <c:v>Gillette</c:v>
                </c:pt>
                <c:pt idx="86">
                  <c:v>Schick</c:v>
                </c:pt>
                <c:pt idx="87">
                  <c:v>Gillette</c:v>
                </c:pt>
                <c:pt idx="88">
                  <c:v>Schick</c:v>
                </c:pt>
                <c:pt idx="89">
                  <c:v>Harry's</c:v>
                </c:pt>
                <c:pt idx="90">
                  <c:v>Gillette</c:v>
                </c:pt>
                <c:pt idx="91">
                  <c:v>Gillette</c:v>
                </c:pt>
                <c:pt idx="92">
                  <c:v>Bic</c:v>
                </c:pt>
                <c:pt idx="93">
                  <c:v>Bic</c:v>
                </c:pt>
                <c:pt idx="94">
                  <c:v>Gillette</c:v>
                </c:pt>
                <c:pt idx="95">
                  <c:v>Gillette</c:v>
                </c:pt>
                <c:pt idx="96">
                  <c:v>Gillette</c:v>
                </c:pt>
                <c:pt idx="97">
                  <c:v>Harry's</c:v>
                </c:pt>
                <c:pt idx="98">
                  <c:v>Gillette</c:v>
                </c:pt>
                <c:pt idx="99">
                  <c:v>Gillette</c:v>
                </c:pt>
                <c:pt idx="100">
                  <c:v>Bic</c:v>
                </c:pt>
                <c:pt idx="101">
                  <c:v>Gillette</c:v>
                </c:pt>
                <c:pt idx="102">
                  <c:v>Equate</c:v>
                </c:pt>
                <c:pt idx="103">
                  <c:v>Bic</c:v>
                </c:pt>
                <c:pt idx="104">
                  <c:v>Gillette</c:v>
                </c:pt>
                <c:pt idx="105">
                  <c:v>Gillette</c:v>
                </c:pt>
                <c:pt idx="106">
                  <c:v>Gillette</c:v>
                </c:pt>
                <c:pt idx="107">
                  <c:v>Schick</c:v>
                </c:pt>
                <c:pt idx="108">
                  <c:v>Schick</c:v>
                </c:pt>
                <c:pt idx="109">
                  <c:v>Bic</c:v>
                </c:pt>
                <c:pt idx="110">
                  <c:v>Gillette</c:v>
                </c:pt>
                <c:pt idx="111">
                  <c:v>Schick</c:v>
                </c:pt>
                <c:pt idx="112">
                  <c:v>Bic</c:v>
                </c:pt>
                <c:pt idx="113">
                  <c:v>Dollar Shav</c:v>
                </c:pt>
                <c:pt idx="114">
                  <c:v>Gillette</c:v>
                </c:pt>
                <c:pt idx="115">
                  <c:v>Bic</c:v>
                </c:pt>
                <c:pt idx="116">
                  <c:v>Gillette</c:v>
                </c:pt>
                <c:pt idx="117">
                  <c:v>Bic</c:v>
                </c:pt>
                <c:pt idx="118">
                  <c:v>Gillette</c:v>
                </c:pt>
                <c:pt idx="119">
                  <c:v>Gillette</c:v>
                </c:pt>
                <c:pt idx="120">
                  <c:v>Gillette</c:v>
                </c:pt>
                <c:pt idx="121">
                  <c:v>Harry's</c:v>
                </c:pt>
                <c:pt idx="122">
                  <c:v>Harry's</c:v>
                </c:pt>
                <c:pt idx="123">
                  <c:v>Gillette</c:v>
                </c:pt>
                <c:pt idx="124">
                  <c:v>Schick</c:v>
                </c:pt>
                <c:pt idx="125">
                  <c:v>Schick</c:v>
                </c:pt>
                <c:pt idx="126">
                  <c:v>Cremo</c:v>
                </c:pt>
                <c:pt idx="127">
                  <c:v>Cremo</c:v>
                </c:pt>
                <c:pt idx="128">
                  <c:v>Bic</c:v>
                </c:pt>
                <c:pt idx="129">
                  <c:v>Gillette</c:v>
                </c:pt>
                <c:pt idx="130">
                  <c:v>Comfort 3</c:v>
                </c:pt>
                <c:pt idx="131">
                  <c:v>Bic</c:v>
                </c:pt>
                <c:pt idx="132">
                  <c:v>Bic</c:v>
                </c:pt>
                <c:pt idx="133">
                  <c:v>Schick</c:v>
                </c:pt>
                <c:pt idx="134">
                  <c:v>Gillette</c:v>
                </c:pt>
                <c:pt idx="135">
                  <c:v>Harry's</c:v>
                </c:pt>
                <c:pt idx="136">
                  <c:v>Bic</c:v>
                </c:pt>
                <c:pt idx="137">
                  <c:v>Dollar Shav</c:v>
                </c:pt>
                <c:pt idx="138">
                  <c:v>Harry's</c:v>
                </c:pt>
                <c:pt idx="139">
                  <c:v>Gillette</c:v>
                </c:pt>
                <c:pt idx="140">
                  <c:v>Equate</c:v>
                </c:pt>
                <c:pt idx="141">
                  <c:v>Gillette</c:v>
                </c:pt>
                <c:pt idx="142">
                  <c:v>Dollar Shav</c:v>
                </c:pt>
                <c:pt idx="143">
                  <c:v>Gillette</c:v>
                </c:pt>
                <c:pt idx="144">
                  <c:v>Gillette</c:v>
                </c:pt>
                <c:pt idx="145">
                  <c:v>Schick</c:v>
                </c:pt>
                <c:pt idx="146">
                  <c:v>All Others</c:v>
                </c:pt>
                <c:pt idx="147">
                  <c:v>Dollar Shav</c:v>
                </c:pt>
                <c:pt idx="148">
                  <c:v>Schick</c:v>
                </c:pt>
                <c:pt idx="149">
                  <c:v>Harry's</c:v>
                </c:pt>
                <c:pt idx="150">
                  <c:v>Gillette</c:v>
                </c:pt>
                <c:pt idx="151">
                  <c:v>All Others</c:v>
                </c:pt>
                <c:pt idx="152">
                  <c:v>Gillette</c:v>
                </c:pt>
                <c:pt idx="153">
                  <c:v>Schick</c:v>
                </c:pt>
                <c:pt idx="154">
                  <c:v>Gillette</c:v>
                </c:pt>
                <c:pt idx="155">
                  <c:v>Dollar Shav</c:v>
                </c:pt>
                <c:pt idx="156">
                  <c:v>Equate</c:v>
                </c:pt>
                <c:pt idx="157">
                  <c:v>Van Der Hag</c:v>
                </c:pt>
                <c:pt idx="158">
                  <c:v>Gillette</c:v>
                </c:pt>
                <c:pt idx="159">
                  <c:v>Gillette</c:v>
                </c:pt>
                <c:pt idx="160">
                  <c:v>Gillette</c:v>
                </c:pt>
                <c:pt idx="161">
                  <c:v>Schick</c:v>
                </c:pt>
                <c:pt idx="162">
                  <c:v>Schick</c:v>
                </c:pt>
                <c:pt idx="163">
                  <c:v>Harry's</c:v>
                </c:pt>
                <c:pt idx="164">
                  <c:v>Gillette</c:v>
                </c:pt>
                <c:pt idx="165">
                  <c:v>Comfort 3</c:v>
                </c:pt>
                <c:pt idx="166">
                  <c:v>Schick</c:v>
                </c:pt>
                <c:pt idx="167">
                  <c:v>Gillette</c:v>
                </c:pt>
                <c:pt idx="168">
                  <c:v>Equate</c:v>
                </c:pt>
                <c:pt idx="169">
                  <c:v>Gillette</c:v>
                </c:pt>
                <c:pt idx="170">
                  <c:v>Schick</c:v>
                </c:pt>
                <c:pt idx="171">
                  <c:v>Gillette</c:v>
                </c:pt>
                <c:pt idx="172">
                  <c:v>Dollar Shav</c:v>
                </c:pt>
                <c:pt idx="173">
                  <c:v>Schick</c:v>
                </c:pt>
                <c:pt idx="174">
                  <c:v>Gillette</c:v>
                </c:pt>
                <c:pt idx="175">
                  <c:v>Gillette</c:v>
                </c:pt>
                <c:pt idx="176">
                  <c:v>Gillette</c:v>
                </c:pt>
                <c:pt idx="177">
                  <c:v>Cremo</c:v>
                </c:pt>
                <c:pt idx="178">
                  <c:v>Gillette</c:v>
                </c:pt>
                <c:pt idx="179">
                  <c:v>Bic</c:v>
                </c:pt>
                <c:pt idx="180">
                  <c:v>Cremo</c:v>
                </c:pt>
                <c:pt idx="181">
                  <c:v>Schick</c:v>
                </c:pt>
                <c:pt idx="182">
                  <c:v>Gillette</c:v>
                </c:pt>
                <c:pt idx="183">
                  <c:v>Gillette</c:v>
                </c:pt>
                <c:pt idx="184">
                  <c:v>Bic</c:v>
                </c:pt>
                <c:pt idx="185">
                  <c:v>Gillette</c:v>
                </c:pt>
                <c:pt idx="186">
                  <c:v>Gillette</c:v>
                </c:pt>
                <c:pt idx="187">
                  <c:v>Harry's</c:v>
                </c:pt>
                <c:pt idx="188">
                  <c:v>Schick</c:v>
                </c:pt>
                <c:pt idx="189">
                  <c:v>Harry's</c:v>
                </c:pt>
                <c:pt idx="190">
                  <c:v>Gillette</c:v>
                </c:pt>
                <c:pt idx="191">
                  <c:v>Schick</c:v>
                </c:pt>
                <c:pt idx="192">
                  <c:v>Schick</c:v>
                </c:pt>
                <c:pt idx="193">
                  <c:v>Schick</c:v>
                </c:pt>
                <c:pt idx="194">
                  <c:v>Schick</c:v>
                </c:pt>
                <c:pt idx="195">
                  <c:v>Gillette</c:v>
                </c:pt>
                <c:pt idx="196">
                  <c:v>Gillette</c:v>
                </c:pt>
                <c:pt idx="197">
                  <c:v>Dollar Shav</c:v>
                </c:pt>
                <c:pt idx="198">
                  <c:v>Bic</c:v>
                </c:pt>
                <c:pt idx="199">
                  <c:v>Schick</c:v>
                </c:pt>
                <c:pt idx="200">
                  <c:v>Unilever: A</c:v>
                </c:pt>
                <c:pt idx="201">
                  <c:v>Schick</c:v>
                </c:pt>
                <c:pt idx="202">
                  <c:v>Gillette</c:v>
                </c:pt>
                <c:pt idx="203">
                  <c:v>Gillette</c:v>
                </c:pt>
                <c:pt idx="204">
                  <c:v>Bic</c:v>
                </c:pt>
                <c:pt idx="205">
                  <c:v>Van Der Hag</c:v>
                </c:pt>
                <c:pt idx="206">
                  <c:v>Schick</c:v>
                </c:pt>
                <c:pt idx="207">
                  <c:v>Schick</c:v>
                </c:pt>
                <c:pt idx="208">
                  <c:v>Equate</c:v>
                </c:pt>
                <c:pt idx="209">
                  <c:v>Bic</c:v>
                </c:pt>
                <c:pt idx="210">
                  <c:v>Gillette</c:v>
                </c:pt>
                <c:pt idx="211">
                  <c:v>Equate</c:v>
                </c:pt>
                <c:pt idx="212">
                  <c:v>Schick</c:v>
                </c:pt>
                <c:pt idx="213">
                  <c:v>Dollar Shav</c:v>
                </c:pt>
                <c:pt idx="214">
                  <c:v>Schick</c:v>
                </c:pt>
                <c:pt idx="215">
                  <c:v>Gillette</c:v>
                </c:pt>
                <c:pt idx="216">
                  <c:v>Schick</c:v>
                </c:pt>
                <c:pt idx="217">
                  <c:v>Bic</c:v>
                </c:pt>
                <c:pt idx="218">
                  <c:v>Gillette</c:v>
                </c:pt>
                <c:pt idx="219">
                  <c:v>Schick</c:v>
                </c:pt>
                <c:pt idx="220">
                  <c:v>Schick</c:v>
                </c:pt>
                <c:pt idx="221">
                  <c:v>Schick</c:v>
                </c:pt>
                <c:pt idx="222">
                  <c:v>Gillette</c:v>
                </c:pt>
                <c:pt idx="223">
                  <c:v>Gillette</c:v>
                </c:pt>
                <c:pt idx="224">
                  <c:v>Edgewell Pe</c:v>
                </c:pt>
                <c:pt idx="225">
                  <c:v>Gillette</c:v>
                </c:pt>
                <c:pt idx="226">
                  <c:v>Gillette</c:v>
                </c:pt>
                <c:pt idx="227">
                  <c:v>Gillette</c:v>
                </c:pt>
                <c:pt idx="228">
                  <c:v>Van Der Hag</c:v>
                </c:pt>
                <c:pt idx="229">
                  <c:v>Bic</c:v>
                </c:pt>
                <c:pt idx="230">
                  <c:v>Gillette</c:v>
                </c:pt>
                <c:pt idx="231">
                  <c:v>Bic</c:v>
                </c:pt>
                <c:pt idx="232">
                  <c:v>Schick</c:v>
                </c:pt>
                <c:pt idx="233">
                  <c:v>Bic</c:v>
                </c:pt>
                <c:pt idx="234">
                  <c:v>Schick</c:v>
                </c:pt>
                <c:pt idx="235">
                  <c:v>Gillette</c:v>
                </c:pt>
                <c:pt idx="236">
                  <c:v>Gillette</c:v>
                </c:pt>
                <c:pt idx="237">
                  <c:v>Schick</c:v>
                </c:pt>
                <c:pt idx="238">
                  <c:v>Equate</c:v>
                </c:pt>
                <c:pt idx="239">
                  <c:v>Gillette</c:v>
                </c:pt>
                <c:pt idx="240">
                  <c:v>Gillette</c:v>
                </c:pt>
                <c:pt idx="241">
                  <c:v>Dollar Shav</c:v>
                </c:pt>
                <c:pt idx="242">
                  <c:v>Gillette</c:v>
                </c:pt>
                <c:pt idx="243">
                  <c:v>Bic</c:v>
                </c:pt>
                <c:pt idx="244">
                  <c:v>Gillette</c:v>
                </c:pt>
                <c:pt idx="245">
                  <c:v>Gillette</c:v>
                </c:pt>
                <c:pt idx="246">
                  <c:v>Gillette</c:v>
                </c:pt>
                <c:pt idx="247">
                  <c:v>Bic</c:v>
                </c:pt>
                <c:pt idx="248">
                  <c:v>Equate</c:v>
                </c:pt>
                <c:pt idx="249">
                  <c:v>Equate</c:v>
                </c:pt>
                <c:pt idx="250">
                  <c:v>Equate</c:v>
                </c:pt>
                <c:pt idx="251">
                  <c:v>Bic</c:v>
                </c:pt>
                <c:pt idx="252">
                  <c:v>Gillette</c:v>
                </c:pt>
                <c:pt idx="253">
                  <c:v>Bic</c:v>
                </c:pt>
                <c:pt idx="254">
                  <c:v>Gillette</c:v>
                </c:pt>
                <c:pt idx="255">
                  <c:v>Schick</c:v>
                </c:pt>
                <c:pt idx="256">
                  <c:v>Gillette</c:v>
                </c:pt>
                <c:pt idx="257">
                  <c:v>Schick</c:v>
                </c:pt>
                <c:pt idx="258">
                  <c:v>Gillette</c:v>
                </c:pt>
                <c:pt idx="259">
                  <c:v>Schick</c:v>
                </c:pt>
                <c:pt idx="260">
                  <c:v>Equate</c:v>
                </c:pt>
                <c:pt idx="261">
                  <c:v>Bic</c:v>
                </c:pt>
                <c:pt idx="262">
                  <c:v>Schick</c:v>
                </c:pt>
                <c:pt idx="263">
                  <c:v>Edgewell Pe</c:v>
                </c:pt>
                <c:pt idx="264">
                  <c:v>Schick</c:v>
                </c:pt>
                <c:pt idx="265">
                  <c:v>Gillette</c:v>
                </c:pt>
                <c:pt idx="266">
                  <c:v>Gillette</c:v>
                </c:pt>
                <c:pt idx="267">
                  <c:v>Bic</c:v>
                </c:pt>
                <c:pt idx="268">
                  <c:v>Schick</c:v>
                </c:pt>
                <c:pt idx="269">
                  <c:v>Schick</c:v>
                </c:pt>
                <c:pt idx="270">
                  <c:v>All Others</c:v>
                </c:pt>
                <c:pt idx="271">
                  <c:v>Gillette</c:v>
                </c:pt>
                <c:pt idx="272">
                  <c:v>Gillette</c:v>
                </c:pt>
                <c:pt idx="273">
                  <c:v>Gillette</c:v>
                </c:pt>
                <c:pt idx="274">
                  <c:v>Schick</c:v>
                </c:pt>
                <c:pt idx="275">
                  <c:v>Schick</c:v>
                </c:pt>
                <c:pt idx="276">
                  <c:v>Equate</c:v>
                </c:pt>
                <c:pt idx="277">
                  <c:v>Harry's</c:v>
                </c:pt>
                <c:pt idx="278">
                  <c:v>Schick</c:v>
                </c:pt>
                <c:pt idx="279">
                  <c:v>Equate</c:v>
                </c:pt>
                <c:pt idx="280">
                  <c:v>Schick</c:v>
                </c:pt>
                <c:pt idx="281">
                  <c:v>Gillette</c:v>
                </c:pt>
                <c:pt idx="282">
                  <c:v>Schick</c:v>
                </c:pt>
                <c:pt idx="283">
                  <c:v>Gillette</c:v>
                </c:pt>
                <c:pt idx="284">
                  <c:v>Schick</c:v>
                </c:pt>
                <c:pt idx="285">
                  <c:v>Equate</c:v>
                </c:pt>
                <c:pt idx="286">
                  <c:v>Barbasol</c:v>
                </c:pt>
                <c:pt idx="287">
                  <c:v>Edgewell Pe</c:v>
                </c:pt>
                <c:pt idx="288">
                  <c:v>Gillette</c:v>
                </c:pt>
                <c:pt idx="289">
                  <c:v>Schick</c:v>
                </c:pt>
                <c:pt idx="290">
                  <c:v>Gillette</c:v>
                </c:pt>
                <c:pt idx="291">
                  <c:v>Bic</c:v>
                </c:pt>
                <c:pt idx="292">
                  <c:v>Equate</c:v>
                </c:pt>
                <c:pt idx="293">
                  <c:v>Gillette</c:v>
                </c:pt>
                <c:pt idx="294">
                  <c:v>Bic</c:v>
                </c:pt>
                <c:pt idx="295">
                  <c:v>Schick</c:v>
                </c:pt>
                <c:pt idx="296">
                  <c:v>Gillette</c:v>
                </c:pt>
                <c:pt idx="297">
                  <c:v>Barbasol</c:v>
                </c:pt>
                <c:pt idx="298">
                  <c:v>Schick</c:v>
                </c:pt>
                <c:pt idx="299">
                  <c:v>Schick</c:v>
                </c:pt>
                <c:pt idx="300">
                  <c:v>Gillette</c:v>
                </c:pt>
                <c:pt idx="301">
                  <c:v>Edgewell Pe</c:v>
                </c:pt>
                <c:pt idx="302">
                  <c:v>Schick</c:v>
                </c:pt>
                <c:pt idx="303">
                  <c:v>Schick</c:v>
                </c:pt>
                <c:pt idx="304">
                  <c:v>Equate</c:v>
                </c:pt>
                <c:pt idx="305">
                  <c:v>Personna</c:v>
                </c:pt>
                <c:pt idx="306">
                  <c:v>Equate</c:v>
                </c:pt>
                <c:pt idx="307">
                  <c:v>Gillette</c:v>
                </c:pt>
                <c:pt idx="308">
                  <c:v>Gillette</c:v>
                </c:pt>
                <c:pt idx="309">
                  <c:v>Gillette</c:v>
                </c:pt>
                <c:pt idx="310">
                  <c:v>Gillette</c:v>
                </c:pt>
                <c:pt idx="311">
                  <c:v>Dollar Shav</c:v>
                </c:pt>
                <c:pt idx="312">
                  <c:v>Dollar Shav</c:v>
                </c:pt>
                <c:pt idx="313">
                  <c:v>Gillette</c:v>
                </c:pt>
                <c:pt idx="314">
                  <c:v>Personna</c:v>
                </c:pt>
                <c:pt idx="315">
                  <c:v>Bic</c:v>
                </c:pt>
                <c:pt idx="316">
                  <c:v>Schick</c:v>
                </c:pt>
                <c:pt idx="317">
                  <c:v>Bic</c:v>
                </c:pt>
                <c:pt idx="318">
                  <c:v>Dollar Shav</c:v>
                </c:pt>
                <c:pt idx="319">
                  <c:v>Unilever: A</c:v>
                </c:pt>
                <c:pt idx="320">
                  <c:v>Gillette</c:v>
                </c:pt>
                <c:pt idx="321">
                  <c:v>Schick</c:v>
                </c:pt>
                <c:pt idx="322">
                  <c:v>Equate</c:v>
                </c:pt>
                <c:pt idx="323">
                  <c:v>Schick</c:v>
                </c:pt>
                <c:pt idx="324">
                  <c:v>Schick</c:v>
                </c:pt>
                <c:pt idx="325">
                  <c:v>Gillette</c:v>
                </c:pt>
                <c:pt idx="326">
                  <c:v>Bic</c:v>
                </c:pt>
                <c:pt idx="327">
                  <c:v>Schick</c:v>
                </c:pt>
                <c:pt idx="328">
                  <c:v>Schick</c:v>
                </c:pt>
                <c:pt idx="329">
                  <c:v>All Others</c:v>
                </c:pt>
                <c:pt idx="330">
                  <c:v>Procter &amp; G</c:v>
                </c:pt>
                <c:pt idx="331">
                  <c:v>Gillette</c:v>
                </c:pt>
                <c:pt idx="332">
                  <c:v>Gillette</c:v>
                </c:pt>
                <c:pt idx="333">
                  <c:v>Gillette</c:v>
                </c:pt>
                <c:pt idx="334">
                  <c:v>Gillette</c:v>
                </c:pt>
                <c:pt idx="335">
                  <c:v>Gillette</c:v>
                </c:pt>
                <c:pt idx="336">
                  <c:v>Private Lab</c:v>
                </c:pt>
                <c:pt idx="337">
                  <c:v>Gillette</c:v>
                </c:pt>
                <c:pt idx="338">
                  <c:v>Gillette</c:v>
                </c:pt>
                <c:pt idx="339">
                  <c:v>Gillette</c:v>
                </c:pt>
                <c:pt idx="340">
                  <c:v>Schick</c:v>
                </c:pt>
              </c:strCache>
            </c:strRef>
          </c:cat>
          <c:val>
            <c:numRef>
              <c:f>Sheet1!$C$2:$C$342</c:f>
              <c:numCache>
                <c:formatCode>General</c:formatCode>
                <c:ptCount val="341"/>
                <c:pt idx="0">
                  <c:v>5.5338531387806152E-2</c:v>
                </c:pt>
                <c:pt idx="1">
                  <c:v>0.10790650810667221</c:v>
                </c:pt>
                <c:pt idx="2">
                  <c:v>0.14388799964068727</c:v>
                </c:pt>
                <c:pt idx="3">
                  <c:v>0.17146433485114362</c:v>
                </c:pt>
                <c:pt idx="4">
                  <c:v>0.1984780917301307</c:v>
                </c:pt>
                <c:pt idx="5">
                  <c:v>0.22512293380616138</c:v>
                </c:pt>
                <c:pt idx="6">
                  <c:v>0.24857341977608077</c:v>
                </c:pt>
                <c:pt idx="7">
                  <c:v>0.27093768250167199</c:v>
                </c:pt>
                <c:pt idx="8">
                  <c:v>0.29303024590441645</c:v>
                </c:pt>
                <c:pt idx="9">
                  <c:v>0.31243374082179159</c:v>
                </c:pt>
                <c:pt idx="10">
                  <c:v>0.33031069397314344</c:v>
                </c:pt>
                <c:pt idx="11">
                  <c:v>0.34812722765373427</c:v>
                </c:pt>
                <c:pt idx="12">
                  <c:v>0.36567226150300941</c:v>
                </c:pt>
                <c:pt idx="13">
                  <c:v>0.3813309746811781</c:v>
                </c:pt>
                <c:pt idx="14">
                  <c:v>0.39696321451891869</c:v>
                </c:pt>
                <c:pt idx="15">
                  <c:v>0.41236691848713342</c:v>
                </c:pt>
                <c:pt idx="16">
                  <c:v>0.42683268045183542</c:v>
                </c:pt>
                <c:pt idx="17">
                  <c:v>0.44102990442377027</c:v>
                </c:pt>
                <c:pt idx="18">
                  <c:v>0.45411180381537075</c:v>
                </c:pt>
                <c:pt idx="19">
                  <c:v>0.46658849475668263</c:v>
                </c:pt>
                <c:pt idx="20">
                  <c:v>0.47900073364842621</c:v>
                </c:pt>
                <c:pt idx="21">
                  <c:v>0.49113265029767267</c:v>
                </c:pt>
                <c:pt idx="22">
                  <c:v>0.50320277139171909</c:v>
                </c:pt>
                <c:pt idx="23">
                  <c:v>0.51502947414089395</c:v>
                </c:pt>
                <c:pt idx="24">
                  <c:v>0.52661644099601113</c:v>
                </c:pt>
                <c:pt idx="25">
                  <c:v>0.53804617799020349</c:v>
                </c:pt>
                <c:pt idx="26">
                  <c:v>0.54907200977401005</c:v>
                </c:pt>
                <c:pt idx="27">
                  <c:v>0.56000898233010665</c:v>
                </c:pt>
                <c:pt idx="28">
                  <c:v>0.5706863899410799</c:v>
                </c:pt>
                <c:pt idx="29">
                  <c:v>0.5811983356120286</c:v>
                </c:pt>
                <c:pt idx="30">
                  <c:v>0.59142946234728022</c:v>
                </c:pt>
                <c:pt idx="31">
                  <c:v>0.60162622157723022</c:v>
                </c:pt>
                <c:pt idx="32">
                  <c:v>0.61167647056261021</c:v>
                </c:pt>
                <c:pt idx="33">
                  <c:v>0.62106479239840517</c:v>
                </c:pt>
                <c:pt idx="34">
                  <c:v>0.63039163827257549</c:v>
                </c:pt>
                <c:pt idx="35">
                  <c:v>0.63970371566656081</c:v>
                </c:pt>
                <c:pt idx="36">
                  <c:v>0.64899685357885883</c:v>
                </c:pt>
                <c:pt idx="37">
                  <c:v>0.65804661793009844</c:v>
                </c:pt>
                <c:pt idx="38">
                  <c:v>0.66700353525863387</c:v>
                </c:pt>
                <c:pt idx="39">
                  <c:v>0.67550098898537225</c:v>
                </c:pt>
                <c:pt idx="40">
                  <c:v>0.68388298189941676</c:v>
                </c:pt>
                <c:pt idx="41">
                  <c:v>0.69221477419459942</c:v>
                </c:pt>
                <c:pt idx="42">
                  <c:v>0.70049324728902596</c:v>
                </c:pt>
                <c:pt idx="43">
                  <c:v>0.70873965924452575</c:v>
                </c:pt>
                <c:pt idx="44">
                  <c:v>0.71682162910956304</c:v>
                </c:pt>
                <c:pt idx="45">
                  <c:v>0.72482803850375443</c:v>
                </c:pt>
                <c:pt idx="46">
                  <c:v>0.73269537176635102</c:v>
                </c:pt>
                <c:pt idx="47">
                  <c:v>0.74053567799773934</c:v>
                </c:pt>
                <c:pt idx="48">
                  <c:v>0.74819378739239728</c:v>
                </c:pt>
                <c:pt idx="49">
                  <c:v>0.75577202689201195</c:v>
                </c:pt>
                <c:pt idx="50">
                  <c:v>0.76313426591851408</c:v>
                </c:pt>
                <c:pt idx="51">
                  <c:v>0.77045145446466146</c:v>
                </c:pt>
                <c:pt idx="52">
                  <c:v>0.77775584094714467</c:v>
                </c:pt>
                <c:pt idx="53">
                  <c:v>0.78503982026024743</c:v>
                </c:pt>
                <c:pt idx="54">
                  <c:v>0.79230001122608051</c:v>
                </c:pt>
                <c:pt idx="55">
                  <c:v>0.79923025541324133</c:v>
                </c:pt>
                <c:pt idx="56">
                  <c:v>0.80596350985595233</c:v>
                </c:pt>
                <c:pt idx="57">
                  <c:v>0.81268980041572569</c:v>
                </c:pt>
                <c:pt idx="58">
                  <c:v>0.81939671383382007</c:v>
                </c:pt>
                <c:pt idx="59">
                  <c:v>0.82609063383923065</c:v>
                </c:pt>
                <c:pt idx="60">
                  <c:v>0.83271510229302825</c:v>
                </c:pt>
                <c:pt idx="61">
                  <c:v>0.83930379662266708</c:v>
                </c:pt>
                <c:pt idx="62">
                  <c:v>0.8456638533013866</c:v>
                </c:pt>
                <c:pt idx="63">
                  <c:v>0.85178259443882265</c:v>
                </c:pt>
                <c:pt idx="64">
                  <c:v>0.85775867063273203</c:v>
                </c:pt>
                <c:pt idx="65">
                  <c:v>0.86371962211157949</c:v>
                </c:pt>
                <c:pt idx="66">
                  <c:v>0.86909500894906799</c:v>
                </c:pt>
                <c:pt idx="67">
                  <c:v>0.87438086276602212</c:v>
                </c:pt>
                <c:pt idx="68">
                  <c:v>0.87965473487734303</c:v>
                </c:pt>
                <c:pt idx="69">
                  <c:v>0.88474844374417405</c:v>
                </c:pt>
                <c:pt idx="70">
                  <c:v>0.88958162481389991</c:v>
                </c:pt>
                <c:pt idx="71">
                  <c:v>0.894291395944106</c:v>
                </c:pt>
                <c:pt idx="72">
                  <c:v>0.89889580908272904</c:v>
                </c:pt>
                <c:pt idx="73">
                  <c:v>0.90349013161400848</c:v>
                </c:pt>
                <c:pt idx="74">
                  <c:v>0.90807133859493205</c:v>
                </c:pt>
                <c:pt idx="75">
                  <c:v>0.91202654522251947</c:v>
                </c:pt>
                <c:pt idx="76">
                  <c:v>0.91593088150967639</c:v>
                </c:pt>
                <c:pt idx="77">
                  <c:v>0.9198333063422649</c:v>
                </c:pt>
                <c:pt idx="78">
                  <c:v>0.92347383747144862</c:v>
                </c:pt>
                <c:pt idx="79">
                  <c:v>0.92704212416758391</c:v>
                </c:pt>
                <c:pt idx="80">
                  <c:v>0.93036171617141294</c:v>
                </c:pt>
                <c:pt idx="81">
                  <c:v>0.93367721656322655</c:v>
                </c:pt>
                <c:pt idx="82">
                  <c:v>0.9368985284535708</c:v>
                </c:pt>
                <c:pt idx="83">
                  <c:v>0.93984944382290403</c:v>
                </c:pt>
                <c:pt idx="84">
                  <c:v>0.94275485273123982</c:v>
                </c:pt>
                <c:pt idx="85">
                  <c:v>0.94562285697749437</c:v>
                </c:pt>
                <c:pt idx="86">
                  <c:v>0.9483963368436813</c:v>
                </c:pt>
                <c:pt idx="87">
                  <c:v>0.95090721664359312</c:v>
                </c:pt>
                <c:pt idx="88">
                  <c:v>0.95321613366017266</c:v>
                </c:pt>
                <c:pt idx="89">
                  <c:v>0.95549269437178452</c:v>
                </c:pt>
                <c:pt idx="90">
                  <c:v>0.95772947484359272</c:v>
                </c:pt>
                <c:pt idx="91">
                  <c:v>0.95993256567417951</c:v>
                </c:pt>
                <c:pt idx="92">
                  <c:v>0.96208808591711037</c:v>
                </c:pt>
                <c:pt idx="93">
                  <c:v>0.96423194811923907</c:v>
                </c:pt>
                <c:pt idx="94">
                  <c:v>0.96632200256992318</c:v>
                </c:pt>
                <c:pt idx="95">
                  <c:v>0.96832290466248427</c:v>
                </c:pt>
                <c:pt idx="96">
                  <c:v>0.97028777410614742</c:v>
                </c:pt>
                <c:pt idx="97">
                  <c:v>0.97224872700179188</c:v>
                </c:pt>
                <c:pt idx="98">
                  <c:v>0.97409491323384556</c:v>
                </c:pt>
                <c:pt idx="99">
                  <c:v>0.97578794493196686</c:v>
                </c:pt>
                <c:pt idx="100">
                  <c:v>0.97723906464983923</c:v>
                </c:pt>
                <c:pt idx="101">
                  <c:v>0.97868543524789475</c:v>
                </c:pt>
                <c:pt idx="102">
                  <c:v>0.98012072388783489</c:v>
                </c:pt>
                <c:pt idx="103">
                  <c:v>0.98154092038275886</c:v>
                </c:pt>
                <c:pt idx="104">
                  <c:v>0.98277253020507371</c:v>
                </c:pt>
                <c:pt idx="105">
                  <c:v>0.98398611250698631</c:v>
                </c:pt>
                <c:pt idx="106">
                  <c:v>0.98518064540330674</c:v>
                </c:pt>
                <c:pt idx="107">
                  <c:v>0.98634954363788074</c:v>
                </c:pt>
                <c:pt idx="108">
                  <c:v>0.98744568038992786</c:v>
                </c:pt>
                <c:pt idx="109">
                  <c:v>0.9885267738520277</c:v>
                </c:pt>
                <c:pt idx="110">
                  <c:v>0.98950475054882758</c:v>
                </c:pt>
                <c:pt idx="111">
                  <c:v>0.99044190272872734</c:v>
                </c:pt>
                <c:pt idx="112">
                  <c:v>0.99135391694008057</c:v>
                </c:pt>
                <c:pt idx="113">
                  <c:v>0.99225165122193726</c:v>
                </c:pt>
                <c:pt idx="114">
                  <c:v>0.99311399407767453</c:v>
                </c:pt>
                <c:pt idx="115">
                  <c:v>0.99389469604212299</c:v>
                </c:pt>
                <c:pt idx="116">
                  <c:v>0.99467130843018392</c:v>
                </c:pt>
                <c:pt idx="117">
                  <c:v>0.99543543020564451</c:v>
                </c:pt>
                <c:pt idx="118">
                  <c:v>0.99613777678218374</c:v>
                </c:pt>
                <c:pt idx="119">
                  <c:v>0.99680221182530249</c:v>
                </c:pt>
                <c:pt idx="120">
                  <c:v>0.99737800341726535</c:v>
                </c:pt>
                <c:pt idx="121">
                  <c:v>0.9979530723613349</c:v>
                </c:pt>
                <c:pt idx="122">
                  <c:v>0.99845506633618586</c:v>
                </c:pt>
                <c:pt idx="123">
                  <c:v>0.99894257478312543</c:v>
                </c:pt>
                <c:pt idx="124">
                  <c:v>0.99918671781151813</c:v>
                </c:pt>
                <c:pt idx="125">
                  <c:v>0.99939259917849699</c:v>
                </c:pt>
                <c:pt idx="126">
                  <c:v>0.99957420568314559</c:v>
                </c:pt>
                <c:pt idx="127">
                  <c:v>0.99966214887831484</c:v>
                </c:pt>
                <c:pt idx="128">
                  <c:v>0.99973348542133389</c:v>
                </c:pt>
                <c:pt idx="129">
                  <c:v>0.99979465400315048</c:v>
                </c:pt>
                <c:pt idx="130">
                  <c:v>0.99981847084921038</c:v>
                </c:pt>
                <c:pt idx="131">
                  <c:v>0.99983526681475232</c:v>
                </c:pt>
                <c:pt idx="132">
                  <c:v>0.99984954470862109</c:v>
                </c:pt>
                <c:pt idx="133">
                  <c:v>0.99986103379231017</c:v>
                </c:pt>
                <c:pt idx="134">
                  <c:v>0.99987122618104707</c:v>
                </c:pt>
                <c:pt idx="135">
                  <c:v>0.99988084248709719</c:v>
                </c:pt>
                <c:pt idx="136">
                  <c:v>0.99989033258421955</c:v>
                </c:pt>
                <c:pt idx="137">
                  <c:v>0.99989871326415358</c:v>
                </c:pt>
                <c:pt idx="138">
                  <c:v>0.99990703491087951</c:v>
                </c:pt>
                <c:pt idx="139">
                  <c:v>0.99991395197437627</c:v>
                </c:pt>
                <c:pt idx="140">
                  <c:v>0.99992071025889928</c:v>
                </c:pt>
                <c:pt idx="141">
                  <c:v>0.99992569754717675</c:v>
                </c:pt>
                <c:pt idx="142">
                  <c:v>0.99993020035602154</c:v>
                </c:pt>
                <c:pt idx="143">
                  <c:v>0.99993459120533357</c:v>
                </c:pt>
                <c:pt idx="144">
                  <c:v>0.9999388171687883</c:v>
                </c:pt>
                <c:pt idx="145">
                  <c:v>0.99994238766006938</c:v>
                </c:pt>
                <c:pt idx="146">
                  <c:v>0.99994589911814236</c:v>
                </c:pt>
                <c:pt idx="147">
                  <c:v>0.99994933118672846</c:v>
                </c:pt>
                <c:pt idx="148">
                  <c:v>0.99995187775719174</c:v>
                </c:pt>
                <c:pt idx="149">
                  <c:v>0.99995357343520608</c:v>
                </c:pt>
                <c:pt idx="150">
                  <c:v>0.99995526707759252</c:v>
                </c:pt>
                <c:pt idx="151">
                  <c:v>0.99995693629244453</c:v>
                </c:pt>
                <c:pt idx="152">
                  <c:v>0.99995859329352943</c:v>
                </c:pt>
                <c:pt idx="153">
                  <c:v>0.99996023808084711</c:v>
                </c:pt>
                <c:pt idx="154">
                  <c:v>0.99996186251188601</c:v>
                </c:pt>
                <c:pt idx="155">
                  <c:v>0.99996348490729714</c:v>
                </c:pt>
                <c:pt idx="156">
                  <c:v>0.99996507066140661</c:v>
                </c:pt>
                <c:pt idx="157">
                  <c:v>0.99996660959607508</c:v>
                </c:pt>
                <c:pt idx="158">
                  <c:v>0.99996814242386001</c:v>
                </c:pt>
                <c:pt idx="159">
                  <c:v>0.99996961825406461</c:v>
                </c:pt>
                <c:pt idx="160">
                  <c:v>0.99997098008910856</c:v>
                </c:pt>
                <c:pt idx="161">
                  <c:v>0.99997233785289674</c:v>
                </c:pt>
                <c:pt idx="162">
                  <c:v>0.99997343505631775</c:v>
                </c:pt>
                <c:pt idx="163">
                  <c:v>0.99997452208159943</c:v>
                </c:pt>
                <c:pt idx="164">
                  <c:v>0.99997549714734835</c:v>
                </c:pt>
                <c:pt idx="165">
                  <c:v>0.99997629918472852</c:v>
                </c:pt>
                <c:pt idx="166">
                  <c:v>0.99997709918648081</c:v>
                </c:pt>
                <c:pt idx="167">
                  <c:v>0.99997787476069866</c:v>
                </c:pt>
                <c:pt idx="168">
                  <c:v>0.9999785913017083</c:v>
                </c:pt>
                <c:pt idx="169">
                  <c:v>0.99997930377146227</c:v>
                </c:pt>
                <c:pt idx="170">
                  <c:v>0.99997996535051947</c:v>
                </c:pt>
                <c:pt idx="171">
                  <c:v>0.99998061064455379</c:v>
                </c:pt>
                <c:pt idx="172">
                  <c:v>0.99998123965356511</c:v>
                </c:pt>
                <c:pt idx="173">
                  <c:v>0.9999818584844371</c:v>
                </c:pt>
                <c:pt idx="174">
                  <c:v>0.99998241217521733</c:v>
                </c:pt>
                <c:pt idx="175">
                  <c:v>0.99998296179474178</c:v>
                </c:pt>
                <c:pt idx="176">
                  <c:v>0.99998350530738267</c:v>
                </c:pt>
                <c:pt idx="177">
                  <c:v>0.99998403864188423</c:v>
                </c:pt>
                <c:pt idx="178">
                  <c:v>0.99998453126382836</c:v>
                </c:pt>
                <c:pt idx="179">
                  <c:v>0.99998501777888893</c:v>
                </c:pt>
                <c:pt idx="180">
                  <c:v>0.9999854595101364</c:v>
                </c:pt>
                <c:pt idx="181">
                  <c:v>0.99998588292073298</c:v>
                </c:pt>
                <c:pt idx="182">
                  <c:v>0.9999862859750509</c:v>
                </c:pt>
                <c:pt idx="183">
                  <c:v>0.99998667477997372</c:v>
                </c:pt>
                <c:pt idx="184">
                  <c:v>0.99998705137112931</c:v>
                </c:pt>
                <c:pt idx="185">
                  <c:v>0.99998742389102924</c:v>
                </c:pt>
                <c:pt idx="186">
                  <c:v>0.99998779437530128</c:v>
                </c:pt>
                <c:pt idx="187">
                  <c:v>0.99998816282394543</c:v>
                </c:pt>
                <c:pt idx="188">
                  <c:v>0.99998851905882236</c:v>
                </c:pt>
                <c:pt idx="189">
                  <c:v>0.99998886104430429</c:v>
                </c:pt>
                <c:pt idx="190">
                  <c:v>0.99998918267350745</c:v>
                </c:pt>
                <c:pt idx="191">
                  <c:v>0.99998950430271061</c:v>
                </c:pt>
                <c:pt idx="192">
                  <c:v>0.99998982389628599</c:v>
                </c:pt>
                <c:pt idx="193">
                  <c:v>0.99999014145423348</c:v>
                </c:pt>
                <c:pt idx="194">
                  <c:v>0.99999044679841376</c:v>
                </c:pt>
                <c:pt idx="195">
                  <c:v>0.99999073585757103</c:v>
                </c:pt>
                <c:pt idx="196">
                  <c:v>0.99999101270296109</c:v>
                </c:pt>
                <c:pt idx="197">
                  <c:v>0.99999128751272337</c:v>
                </c:pt>
                <c:pt idx="198">
                  <c:v>0.99999153178806754</c:v>
                </c:pt>
                <c:pt idx="199">
                  <c:v>0.99999177402778383</c:v>
                </c:pt>
                <c:pt idx="200">
                  <c:v>0.99999201626750012</c:v>
                </c:pt>
                <c:pt idx="201">
                  <c:v>0.99999223407968207</c:v>
                </c:pt>
                <c:pt idx="202">
                  <c:v>0.99999244985623614</c:v>
                </c:pt>
                <c:pt idx="203">
                  <c:v>0.99999266359716232</c:v>
                </c:pt>
                <c:pt idx="204">
                  <c:v>0.9999928630886934</c:v>
                </c:pt>
                <c:pt idx="205">
                  <c:v>0.99999305647334091</c:v>
                </c:pt>
                <c:pt idx="206">
                  <c:v>0.99999324985798843</c:v>
                </c:pt>
                <c:pt idx="207">
                  <c:v>0.99999343102886873</c:v>
                </c:pt>
                <c:pt idx="208">
                  <c:v>0.99999360812849325</c:v>
                </c:pt>
                <c:pt idx="209">
                  <c:v>0.99999378319248988</c:v>
                </c:pt>
                <c:pt idx="210">
                  <c:v>0.99999395622085874</c:v>
                </c:pt>
                <c:pt idx="211">
                  <c:v>0.9999941272135997</c:v>
                </c:pt>
                <c:pt idx="212">
                  <c:v>0.99999429617071278</c:v>
                </c:pt>
                <c:pt idx="213">
                  <c:v>0.99999445902094231</c:v>
                </c:pt>
                <c:pt idx="214">
                  <c:v>0.99999461169303239</c:v>
                </c:pt>
                <c:pt idx="215">
                  <c:v>0.99999476232949469</c:v>
                </c:pt>
                <c:pt idx="216">
                  <c:v>0.99999490889470122</c:v>
                </c:pt>
                <c:pt idx="217">
                  <c:v>0.99999504935302419</c:v>
                </c:pt>
                <c:pt idx="218">
                  <c:v>0.99999518166883561</c:v>
                </c:pt>
                <c:pt idx="219">
                  <c:v>0.99999531398464703</c:v>
                </c:pt>
                <c:pt idx="220">
                  <c:v>0.99999544426483056</c:v>
                </c:pt>
                <c:pt idx="221">
                  <c:v>0.99999557454501409</c:v>
                </c:pt>
                <c:pt idx="222">
                  <c:v>0.99999569464705829</c:v>
                </c:pt>
                <c:pt idx="223">
                  <c:v>0.99999581474910249</c:v>
                </c:pt>
                <c:pt idx="224">
                  <c:v>0.9999959328155188</c:v>
                </c:pt>
                <c:pt idx="225">
                  <c:v>0.99999605088193511</c:v>
                </c:pt>
                <c:pt idx="226">
                  <c:v>0.99999616691272364</c:v>
                </c:pt>
                <c:pt idx="227">
                  <c:v>0.99999628090788428</c:v>
                </c:pt>
                <c:pt idx="228">
                  <c:v>0.99999639083178915</c:v>
                </c:pt>
                <c:pt idx="229">
                  <c:v>0.99999649668443835</c:v>
                </c:pt>
                <c:pt idx="230">
                  <c:v>0.99999659032332033</c:v>
                </c:pt>
                <c:pt idx="231">
                  <c:v>0.99999668192657443</c:v>
                </c:pt>
                <c:pt idx="232">
                  <c:v>0.99999677352982852</c:v>
                </c:pt>
                <c:pt idx="233">
                  <c:v>0.99999685902619895</c:v>
                </c:pt>
                <c:pt idx="234">
                  <c:v>0.99999694452256938</c:v>
                </c:pt>
                <c:pt idx="235">
                  <c:v>0.99999702798331203</c:v>
                </c:pt>
                <c:pt idx="236">
                  <c:v>0.9999971073727989</c:v>
                </c:pt>
                <c:pt idx="237">
                  <c:v>0.99999718472665788</c:v>
                </c:pt>
                <c:pt idx="238">
                  <c:v>0.99999726004488898</c:v>
                </c:pt>
                <c:pt idx="239">
                  <c:v>0.99999733332749219</c:v>
                </c:pt>
                <c:pt idx="240">
                  <c:v>0.9999974066100954</c:v>
                </c:pt>
                <c:pt idx="241">
                  <c:v>0.99999747785707083</c:v>
                </c:pt>
                <c:pt idx="242">
                  <c:v>0.99999754706841837</c:v>
                </c:pt>
                <c:pt idx="243">
                  <c:v>0.99999761220851013</c:v>
                </c:pt>
                <c:pt idx="244">
                  <c:v>0.9999976773486019</c:v>
                </c:pt>
                <c:pt idx="245">
                  <c:v>0.999997738417438</c:v>
                </c:pt>
                <c:pt idx="246">
                  <c:v>0.9999977994862741</c:v>
                </c:pt>
                <c:pt idx="247">
                  <c:v>0.99999785648385442</c:v>
                </c:pt>
                <c:pt idx="248">
                  <c:v>0.99999791348143474</c:v>
                </c:pt>
                <c:pt idx="249">
                  <c:v>0.99999796844338718</c:v>
                </c:pt>
                <c:pt idx="250">
                  <c:v>0.99999802340533961</c:v>
                </c:pt>
                <c:pt idx="251">
                  <c:v>0.99999807633166415</c:v>
                </c:pt>
                <c:pt idx="252">
                  <c:v>0.9999981292579887</c:v>
                </c:pt>
                <c:pt idx="253">
                  <c:v>0.99999818218431324</c:v>
                </c:pt>
                <c:pt idx="254">
                  <c:v>0.99999823511063779</c:v>
                </c:pt>
                <c:pt idx="255">
                  <c:v>0.99999828600133445</c:v>
                </c:pt>
                <c:pt idx="256">
                  <c:v>0.9999983368920311</c:v>
                </c:pt>
                <c:pt idx="257">
                  <c:v>0.99999838778272776</c:v>
                </c:pt>
                <c:pt idx="258">
                  <c:v>0.99999843663779664</c:v>
                </c:pt>
                <c:pt idx="259">
                  <c:v>0.99999848549286552</c:v>
                </c:pt>
                <c:pt idx="260">
                  <c:v>0.99999853027667862</c:v>
                </c:pt>
                <c:pt idx="261">
                  <c:v>0.99999857302486383</c:v>
                </c:pt>
                <c:pt idx="262">
                  <c:v>0.99999861577304905</c:v>
                </c:pt>
                <c:pt idx="263">
                  <c:v>0.99999865852123426</c:v>
                </c:pt>
                <c:pt idx="264">
                  <c:v>0.99999870126941948</c:v>
                </c:pt>
                <c:pt idx="265">
                  <c:v>0.9999987419819768</c:v>
                </c:pt>
                <c:pt idx="266">
                  <c:v>0.99999878269453413</c:v>
                </c:pt>
                <c:pt idx="267">
                  <c:v>0.99999881933583579</c:v>
                </c:pt>
                <c:pt idx="268">
                  <c:v>0.99999885394150956</c:v>
                </c:pt>
                <c:pt idx="269">
                  <c:v>0.99999888854718333</c:v>
                </c:pt>
                <c:pt idx="270">
                  <c:v>0.9999989231528571</c:v>
                </c:pt>
                <c:pt idx="271">
                  <c:v>0.99999895775853087</c:v>
                </c:pt>
                <c:pt idx="272">
                  <c:v>0.99999899032857675</c:v>
                </c:pt>
                <c:pt idx="273">
                  <c:v>0.99999902289862264</c:v>
                </c:pt>
                <c:pt idx="274">
                  <c:v>0.99999905343304063</c:v>
                </c:pt>
                <c:pt idx="275">
                  <c:v>0.99999908396745862</c:v>
                </c:pt>
                <c:pt idx="276">
                  <c:v>0.99999911450187662</c:v>
                </c:pt>
                <c:pt idx="277">
                  <c:v>0.99999914503629461</c:v>
                </c:pt>
                <c:pt idx="278">
                  <c:v>0.99999917557071261</c:v>
                </c:pt>
                <c:pt idx="279">
                  <c:v>0.99999920406950271</c:v>
                </c:pt>
                <c:pt idx="280">
                  <c:v>0.99999923256829282</c:v>
                </c:pt>
                <c:pt idx="281">
                  <c:v>0.99999926106708292</c:v>
                </c:pt>
                <c:pt idx="282">
                  <c:v>0.99999928956587303</c:v>
                </c:pt>
                <c:pt idx="283">
                  <c:v>0.99999931602903536</c:v>
                </c:pt>
                <c:pt idx="284">
                  <c:v>0.99999934249219768</c:v>
                </c:pt>
                <c:pt idx="285">
                  <c:v>0.99999936895536001</c:v>
                </c:pt>
                <c:pt idx="286">
                  <c:v>0.99999939541852234</c:v>
                </c:pt>
                <c:pt idx="287">
                  <c:v>0.99999941781042889</c:v>
                </c:pt>
                <c:pt idx="288">
                  <c:v>0.99999944020233544</c:v>
                </c:pt>
                <c:pt idx="289">
                  <c:v>0.99999946259424199</c:v>
                </c:pt>
                <c:pt idx="290">
                  <c:v>0.99999948498614855</c:v>
                </c:pt>
                <c:pt idx="291">
                  <c:v>0.99999950534242721</c:v>
                </c:pt>
                <c:pt idx="292">
                  <c:v>0.99999952569870587</c:v>
                </c:pt>
                <c:pt idx="293">
                  <c:v>0.99999954605498453</c:v>
                </c:pt>
                <c:pt idx="294">
                  <c:v>0.9999995664112632</c:v>
                </c:pt>
                <c:pt idx="295">
                  <c:v>0.99999958473191397</c:v>
                </c:pt>
                <c:pt idx="296">
                  <c:v>0.99999960305256475</c:v>
                </c:pt>
                <c:pt idx="297">
                  <c:v>0.99999962137321552</c:v>
                </c:pt>
                <c:pt idx="298">
                  <c:v>0.99999963969386629</c:v>
                </c:pt>
                <c:pt idx="299">
                  <c:v>0.99999965801451707</c:v>
                </c:pt>
                <c:pt idx="300">
                  <c:v>0.99999967429954006</c:v>
                </c:pt>
                <c:pt idx="301">
                  <c:v>0.99999969058456306</c:v>
                </c:pt>
                <c:pt idx="302">
                  <c:v>0.99999970483395817</c:v>
                </c:pt>
                <c:pt idx="303">
                  <c:v>0.99999971908335328</c:v>
                </c:pt>
                <c:pt idx="304">
                  <c:v>0.99999973333274839</c:v>
                </c:pt>
                <c:pt idx="305">
                  <c:v>0.99999974758214349</c:v>
                </c:pt>
                <c:pt idx="306">
                  <c:v>0.9999997618315386</c:v>
                </c:pt>
                <c:pt idx="307">
                  <c:v>0.99999977608093371</c:v>
                </c:pt>
                <c:pt idx="308">
                  <c:v>0.99999979033032882</c:v>
                </c:pt>
                <c:pt idx="309">
                  <c:v>0.99999980457972393</c:v>
                </c:pt>
                <c:pt idx="310">
                  <c:v>0.99999981882911904</c:v>
                </c:pt>
                <c:pt idx="311">
                  <c:v>0.99999983307851414</c:v>
                </c:pt>
                <c:pt idx="312">
                  <c:v>0.99999984529228136</c:v>
                </c:pt>
                <c:pt idx="313">
                  <c:v>0.99999985750604858</c:v>
                </c:pt>
                <c:pt idx="314">
                  <c:v>0.99999986768418792</c:v>
                </c:pt>
                <c:pt idx="315">
                  <c:v>0.99999987786232725</c:v>
                </c:pt>
                <c:pt idx="316">
                  <c:v>0.99999988804046658</c:v>
                </c:pt>
                <c:pt idx="317">
                  <c:v>0.99999989618297802</c:v>
                </c:pt>
                <c:pt idx="318">
                  <c:v>0.99999990432548946</c:v>
                </c:pt>
                <c:pt idx="319">
                  <c:v>0.99999991246800091</c:v>
                </c:pt>
                <c:pt idx="320">
                  <c:v>0.99999991857488446</c:v>
                </c:pt>
                <c:pt idx="321">
                  <c:v>0.99999992468176802</c:v>
                </c:pt>
                <c:pt idx="322">
                  <c:v>0.99999993078865157</c:v>
                </c:pt>
                <c:pt idx="323">
                  <c:v>0.99999993689553512</c:v>
                </c:pt>
                <c:pt idx="324">
                  <c:v>0.99999994300241868</c:v>
                </c:pt>
                <c:pt idx="325">
                  <c:v>0.99999994910930223</c:v>
                </c:pt>
                <c:pt idx="326">
                  <c:v>0.99999995318055801</c:v>
                </c:pt>
                <c:pt idx="327">
                  <c:v>0.99999995725181379</c:v>
                </c:pt>
                <c:pt idx="328">
                  <c:v>0.99999996132306956</c:v>
                </c:pt>
                <c:pt idx="329">
                  <c:v>0.99999996539432534</c:v>
                </c:pt>
                <c:pt idx="330">
                  <c:v>0.99999996946558112</c:v>
                </c:pt>
                <c:pt idx="331">
                  <c:v>0.99999997353683689</c:v>
                </c:pt>
                <c:pt idx="332">
                  <c:v>0.99999997760809267</c:v>
                </c:pt>
                <c:pt idx="333">
                  <c:v>0.99999998167934845</c:v>
                </c:pt>
                <c:pt idx="334">
                  <c:v>0.99999998575060423</c:v>
                </c:pt>
                <c:pt idx="335">
                  <c:v>0.99999998982186</c:v>
                </c:pt>
                <c:pt idx="336">
                  <c:v>0.99999999185748789</c:v>
                </c:pt>
                <c:pt idx="337">
                  <c:v>0.99999999389311578</c:v>
                </c:pt>
                <c:pt idx="338">
                  <c:v>0.99999999592874367</c:v>
                </c:pt>
                <c:pt idx="339">
                  <c:v>0.99999999796437156</c:v>
                </c:pt>
                <c:pt idx="340">
                  <c:v>0.999999999999999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c:f>
              <c:strCache>
                <c:ptCount val="22"/>
                <c:pt idx="0">
                  <c:v>Gillette</c:v>
                </c:pt>
                <c:pt idx="1">
                  <c:v>Gillette</c:v>
                </c:pt>
                <c:pt idx="2">
                  <c:v>Gillette</c:v>
                </c:pt>
                <c:pt idx="3">
                  <c:v>Schick</c:v>
                </c:pt>
                <c:pt idx="4">
                  <c:v>Gillette</c:v>
                </c:pt>
                <c:pt idx="5">
                  <c:v>Gillette</c:v>
                </c:pt>
                <c:pt idx="6">
                  <c:v>Gillette</c:v>
                </c:pt>
                <c:pt idx="7">
                  <c:v>Gillette</c:v>
                </c:pt>
                <c:pt idx="8">
                  <c:v>Gillette</c:v>
                </c:pt>
                <c:pt idx="9">
                  <c:v>Schick</c:v>
                </c:pt>
                <c:pt idx="10">
                  <c:v>Gillette</c:v>
                </c:pt>
                <c:pt idx="11">
                  <c:v>Bic</c:v>
                </c:pt>
                <c:pt idx="12">
                  <c:v>Gillette</c:v>
                </c:pt>
                <c:pt idx="13">
                  <c:v>Bic</c:v>
                </c:pt>
                <c:pt idx="14">
                  <c:v>Schick</c:v>
                </c:pt>
                <c:pt idx="15">
                  <c:v>Gillette</c:v>
                </c:pt>
                <c:pt idx="16">
                  <c:v>Cremo</c:v>
                </c:pt>
                <c:pt idx="17">
                  <c:v>Comfort 3</c:v>
                </c:pt>
                <c:pt idx="18">
                  <c:v>Bic</c:v>
                </c:pt>
                <c:pt idx="19">
                  <c:v>Gillette</c:v>
                </c:pt>
                <c:pt idx="20">
                  <c:v>Bic</c:v>
                </c:pt>
                <c:pt idx="21">
                  <c:v>All Others</c:v>
                </c:pt>
              </c:strCache>
            </c:strRef>
          </c:cat>
          <c:val>
            <c:numRef>
              <c:f>Sheet1!$B$2:$B$23</c:f>
              <c:numCache>
                <c:formatCode>General</c:formatCode>
                <c:ptCount val="22"/>
                <c:pt idx="0">
                  <c:v>0.94</c:v>
                </c:pt>
                <c:pt idx="1">
                  <c:v>0.94</c:v>
                </c:pt>
                <c:pt idx="2">
                  <c:v>1</c:v>
                </c:pt>
                <c:pt idx="3">
                  <c:v>0.97</c:v>
                </c:pt>
                <c:pt idx="4">
                  <c:v>0.91</c:v>
                </c:pt>
                <c:pt idx="5">
                  <c:v>0.8</c:v>
                </c:pt>
                <c:pt idx="6">
                  <c:v>0.63</c:v>
                </c:pt>
                <c:pt idx="7">
                  <c:v>0.1</c:v>
                </c:pt>
                <c:pt idx="8">
                  <c:v>0.27</c:v>
                </c:pt>
                <c:pt idx="9">
                  <c:v>0.71</c:v>
                </c:pt>
                <c:pt idx="10">
                  <c:v>0.66</c:v>
                </c:pt>
                <c:pt idx="11">
                  <c:v>0.06</c:v>
                </c:pt>
                <c:pt idx="12">
                  <c:v>0.15</c:v>
                </c:pt>
                <c:pt idx="13">
                  <c:v>0.04</c:v>
                </c:pt>
                <c:pt idx="14">
                  <c:v>0.01</c:v>
                </c:pt>
                <c:pt idx="15">
                  <c:v>0.01</c:v>
                </c:pt>
                <c:pt idx="16">
                  <c:v>0.01</c:v>
                </c:pt>
                <c:pt idx="17">
                  <c:v>0.01</c:v>
                </c:pt>
                <c:pt idx="18">
                  <c:v>0.01</c:v>
                </c:pt>
                <c:pt idx="19">
                  <c:v>0.01</c:v>
                </c:pt>
                <c:pt idx="20">
                  <c:v>0.01</c:v>
                </c:pt>
                <c:pt idx="2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3</c:f>
              <c:strCache>
                <c:ptCount val="22"/>
                <c:pt idx="0">
                  <c:v>Gillette</c:v>
                </c:pt>
                <c:pt idx="1">
                  <c:v>Gillette</c:v>
                </c:pt>
                <c:pt idx="2">
                  <c:v>Gillette</c:v>
                </c:pt>
                <c:pt idx="3">
                  <c:v>Schick</c:v>
                </c:pt>
                <c:pt idx="4">
                  <c:v>Gillette</c:v>
                </c:pt>
                <c:pt idx="5">
                  <c:v>Gillette</c:v>
                </c:pt>
                <c:pt idx="6">
                  <c:v>Gillette</c:v>
                </c:pt>
                <c:pt idx="7">
                  <c:v>Gillette</c:v>
                </c:pt>
                <c:pt idx="8">
                  <c:v>Gillette</c:v>
                </c:pt>
                <c:pt idx="9">
                  <c:v>Schick</c:v>
                </c:pt>
                <c:pt idx="10">
                  <c:v>Gillette</c:v>
                </c:pt>
                <c:pt idx="11">
                  <c:v>Bic</c:v>
                </c:pt>
                <c:pt idx="12">
                  <c:v>Gillette</c:v>
                </c:pt>
                <c:pt idx="13">
                  <c:v>Bic</c:v>
                </c:pt>
                <c:pt idx="14">
                  <c:v>Schick</c:v>
                </c:pt>
                <c:pt idx="15">
                  <c:v>Gillette</c:v>
                </c:pt>
                <c:pt idx="16">
                  <c:v>Cremo</c:v>
                </c:pt>
                <c:pt idx="17">
                  <c:v>Comfort 3</c:v>
                </c:pt>
                <c:pt idx="18">
                  <c:v>Bic</c:v>
                </c:pt>
                <c:pt idx="19">
                  <c:v>Gillette</c:v>
                </c:pt>
                <c:pt idx="20">
                  <c:v>Bic</c:v>
                </c:pt>
                <c:pt idx="21">
                  <c:v>All Others</c:v>
                </c:pt>
              </c:strCache>
            </c:strRef>
          </c:cat>
          <c:val>
            <c:numRef>
              <c:f>Sheet1!$C$2:$C$23</c:f>
              <c:numCache>
                <c:formatCode>General</c:formatCode>
                <c:ptCount val="22"/>
                <c:pt idx="0">
                  <c:v>0.38562323914737534</c:v>
                </c:pt>
                <c:pt idx="1">
                  <c:v>0.54243939605258507</c:v>
                </c:pt>
                <c:pt idx="2">
                  <c:v>0.68430976442792102</c:v>
                </c:pt>
                <c:pt idx="3">
                  <c:v>0.78223146345388439</c:v>
                </c:pt>
                <c:pt idx="4">
                  <c:v>0.85991571950230217</c:v>
                </c:pt>
                <c:pt idx="5">
                  <c:v>0.92271757568862911</c:v>
                </c:pt>
                <c:pt idx="6">
                  <c:v>0.96796316962928552</c:v>
                </c:pt>
                <c:pt idx="7">
                  <c:v>0.97589024014521386</c:v>
                </c:pt>
                <c:pt idx="8">
                  <c:v>0.98298531773864017</c:v>
                </c:pt>
                <c:pt idx="9">
                  <c:v>0.98829960465038724</c:v>
                </c:pt>
                <c:pt idx="10">
                  <c:v>0.9930626389202134</c:v>
                </c:pt>
                <c:pt idx="11">
                  <c:v>0.99711681508680505</c:v>
                </c:pt>
                <c:pt idx="12">
                  <c:v>0.99902908061744788</c:v>
                </c:pt>
                <c:pt idx="13">
                  <c:v>0.99989052461685257</c:v>
                </c:pt>
                <c:pt idx="14">
                  <c:v>0.99994237494794569</c:v>
                </c:pt>
                <c:pt idx="15">
                  <c:v>0.99999323691333575</c:v>
                </c:pt>
                <c:pt idx="16">
                  <c:v>0.99999655737788851</c:v>
                </c:pt>
                <c:pt idx="17">
                  <c:v>0.99999796774243099</c:v>
                </c:pt>
                <c:pt idx="18">
                  <c:v>0.99999880063487734</c:v>
                </c:pt>
                <c:pt idx="19">
                  <c:v>0.99999955579069533</c:v>
                </c:pt>
                <c:pt idx="20">
                  <c:v>0.99999987784244126</c:v>
                </c:pt>
                <c:pt idx="2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c:f>
              <c:strCache>
                <c:ptCount val="19"/>
                <c:pt idx="0">
                  <c:v>Gillette</c:v>
                </c:pt>
                <c:pt idx="1">
                  <c:v>Gillette</c:v>
                </c:pt>
                <c:pt idx="2">
                  <c:v>Gillette</c:v>
                </c:pt>
                <c:pt idx="3">
                  <c:v>Gillette</c:v>
                </c:pt>
                <c:pt idx="4">
                  <c:v>Schick</c:v>
                </c:pt>
                <c:pt idx="5">
                  <c:v>Harry's</c:v>
                </c:pt>
                <c:pt idx="6">
                  <c:v>Gillette</c:v>
                </c:pt>
                <c:pt idx="7">
                  <c:v>Gillette</c:v>
                </c:pt>
                <c:pt idx="8">
                  <c:v>Gillette</c:v>
                </c:pt>
                <c:pt idx="9">
                  <c:v>Gillette</c:v>
                </c:pt>
                <c:pt idx="10">
                  <c:v>Bic</c:v>
                </c:pt>
                <c:pt idx="11">
                  <c:v>Gillette</c:v>
                </c:pt>
                <c:pt idx="12">
                  <c:v>Schick</c:v>
                </c:pt>
                <c:pt idx="13">
                  <c:v>Pbg Pl</c:v>
                </c:pt>
                <c:pt idx="14">
                  <c:v>Pbg Pl</c:v>
                </c:pt>
                <c:pt idx="15">
                  <c:v>Schick</c:v>
                </c:pt>
                <c:pt idx="16">
                  <c:v>Dollar Shav</c:v>
                </c:pt>
                <c:pt idx="17">
                  <c:v>Harry's</c:v>
                </c:pt>
                <c:pt idx="18">
                  <c:v>Gillette</c:v>
                </c:pt>
              </c:strCache>
            </c:strRef>
          </c:cat>
          <c:val>
            <c:numRef>
              <c:f>Sheet1!$B$2:$B$20</c:f>
              <c:numCache>
                <c:formatCode>General</c:formatCode>
                <c:ptCount val="19"/>
                <c:pt idx="0">
                  <c:v>1</c:v>
                </c:pt>
                <c:pt idx="1">
                  <c:v>1</c:v>
                </c:pt>
                <c:pt idx="2">
                  <c:v>1</c:v>
                </c:pt>
                <c:pt idx="3">
                  <c:v>0.98</c:v>
                </c:pt>
                <c:pt idx="4">
                  <c:v>0.99</c:v>
                </c:pt>
                <c:pt idx="5">
                  <c:v>0.99</c:v>
                </c:pt>
                <c:pt idx="6">
                  <c:v>0.99</c:v>
                </c:pt>
                <c:pt idx="7">
                  <c:v>0.97</c:v>
                </c:pt>
                <c:pt idx="8">
                  <c:v>0.77</c:v>
                </c:pt>
                <c:pt idx="9">
                  <c:v>0.88</c:v>
                </c:pt>
                <c:pt idx="10">
                  <c:v>0.8</c:v>
                </c:pt>
                <c:pt idx="11">
                  <c:v>0.77</c:v>
                </c:pt>
                <c:pt idx="12">
                  <c:v>0.86</c:v>
                </c:pt>
                <c:pt idx="13">
                  <c:v>0.57999999999999996</c:v>
                </c:pt>
                <c:pt idx="14">
                  <c:v>0.6</c:v>
                </c:pt>
                <c:pt idx="15">
                  <c:v>0.3</c:v>
                </c:pt>
                <c:pt idx="16">
                  <c:v>0.01</c:v>
                </c:pt>
                <c:pt idx="17">
                  <c:v>0.01</c:v>
                </c:pt>
                <c:pt idx="1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c:f>
              <c:strCache>
                <c:ptCount val="19"/>
                <c:pt idx="0">
                  <c:v>Gillette</c:v>
                </c:pt>
                <c:pt idx="1">
                  <c:v>Gillette</c:v>
                </c:pt>
                <c:pt idx="2">
                  <c:v>Gillette</c:v>
                </c:pt>
                <c:pt idx="3">
                  <c:v>Gillette</c:v>
                </c:pt>
                <c:pt idx="4">
                  <c:v>Schick</c:v>
                </c:pt>
                <c:pt idx="5">
                  <c:v>Harry's</c:v>
                </c:pt>
                <c:pt idx="6">
                  <c:v>Gillette</c:v>
                </c:pt>
                <c:pt idx="7">
                  <c:v>Gillette</c:v>
                </c:pt>
                <c:pt idx="8">
                  <c:v>Gillette</c:v>
                </c:pt>
                <c:pt idx="9">
                  <c:v>Gillette</c:v>
                </c:pt>
                <c:pt idx="10">
                  <c:v>Bic</c:v>
                </c:pt>
                <c:pt idx="11">
                  <c:v>Gillette</c:v>
                </c:pt>
                <c:pt idx="12">
                  <c:v>Schick</c:v>
                </c:pt>
                <c:pt idx="13">
                  <c:v>Pbg Pl</c:v>
                </c:pt>
                <c:pt idx="14">
                  <c:v>Pbg Pl</c:v>
                </c:pt>
                <c:pt idx="15">
                  <c:v>Schick</c:v>
                </c:pt>
                <c:pt idx="16">
                  <c:v>Dollar Shav</c:v>
                </c:pt>
                <c:pt idx="17">
                  <c:v>Harry's</c:v>
                </c:pt>
                <c:pt idx="18">
                  <c:v>Gillette</c:v>
                </c:pt>
              </c:strCache>
            </c:strRef>
          </c:cat>
          <c:val>
            <c:numRef>
              <c:f>Sheet1!$C$2:$C$20</c:f>
              <c:numCache>
                <c:formatCode>General</c:formatCode>
                <c:ptCount val="19"/>
                <c:pt idx="0">
                  <c:v>0.34197166949411889</c:v>
                </c:pt>
                <c:pt idx="1">
                  <c:v>0.50139775994728908</c:v>
                </c:pt>
                <c:pt idx="2">
                  <c:v>0.62175475371289823</c:v>
                </c:pt>
                <c:pt idx="3">
                  <c:v>0.71278658132363515</c:v>
                </c:pt>
                <c:pt idx="4">
                  <c:v>0.78463873881366508</c:v>
                </c:pt>
                <c:pt idx="5">
                  <c:v>0.85006765698819409</c:v>
                </c:pt>
                <c:pt idx="6">
                  <c:v>0.90256437668607525</c:v>
                </c:pt>
                <c:pt idx="7">
                  <c:v>0.94152776084356848</c:v>
                </c:pt>
                <c:pt idx="8">
                  <c:v>0.95543288279813599</c:v>
                </c:pt>
                <c:pt idx="9">
                  <c:v>0.96738996150843015</c:v>
                </c:pt>
                <c:pt idx="10">
                  <c:v>0.97930666726956928</c:v>
                </c:pt>
                <c:pt idx="11">
                  <c:v>0.98835896073569196</c:v>
                </c:pt>
                <c:pt idx="12">
                  <c:v>0.9961211285369731</c:v>
                </c:pt>
                <c:pt idx="13">
                  <c:v>0.99824112824628786</c:v>
                </c:pt>
                <c:pt idx="14">
                  <c:v>0.99927399747911305</c:v>
                </c:pt>
                <c:pt idx="15">
                  <c:v>0.99998992291189093</c:v>
                </c:pt>
                <c:pt idx="16">
                  <c:v>0.99999874036398639</c:v>
                </c:pt>
                <c:pt idx="17">
                  <c:v>0.99999954782296951</c:v>
                </c:pt>
                <c:pt idx="1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70</c:f>
              <c:strCache>
                <c:ptCount val="169"/>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pt idx="19">
                  <c:v>Harry's</c:v>
                </c:pt>
                <c:pt idx="20">
                  <c:v>Schick</c:v>
                </c:pt>
                <c:pt idx="21">
                  <c:v>Bic</c:v>
                </c:pt>
                <c:pt idx="22">
                  <c:v>Bic</c:v>
                </c:pt>
                <c:pt idx="23">
                  <c:v>Schick</c:v>
                </c:pt>
                <c:pt idx="24">
                  <c:v>Bic</c:v>
                </c:pt>
                <c:pt idx="25">
                  <c:v>Schick</c:v>
                </c:pt>
                <c:pt idx="26">
                  <c:v>Gillette</c:v>
                </c:pt>
                <c:pt idx="27">
                  <c:v>Equate</c:v>
                </c:pt>
                <c:pt idx="28">
                  <c:v>Gillette</c:v>
                </c:pt>
                <c:pt idx="29">
                  <c:v>Harry's</c:v>
                </c:pt>
                <c:pt idx="30">
                  <c:v>Dollar Shav</c:v>
                </c:pt>
                <c:pt idx="31">
                  <c:v>Bic</c:v>
                </c:pt>
                <c:pt idx="32">
                  <c:v>Equate</c:v>
                </c:pt>
                <c:pt idx="33">
                  <c:v>Dollar Shav</c:v>
                </c:pt>
                <c:pt idx="34">
                  <c:v>Schick</c:v>
                </c:pt>
                <c:pt idx="35">
                  <c:v>Schick</c:v>
                </c:pt>
                <c:pt idx="36">
                  <c:v>Gillette</c:v>
                </c:pt>
                <c:pt idx="37">
                  <c:v>Harry's</c:v>
                </c:pt>
                <c:pt idx="38">
                  <c:v>Harry's</c:v>
                </c:pt>
                <c:pt idx="39">
                  <c:v>Gillette</c:v>
                </c:pt>
                <c:pt idx="40">
                  <c:v>Gillette</c:v>
                </c:pt>
                <c:pt idx="41">
                  <c:v>Gillette</c:v>
                </c:pt>
                <c:pt idx="42">
                  <c:v>Bic</c:v>
                </c:pt>
                <c:pt idx="43">
                  <c:v>Gillette</c:v>
                </c:pt>
                <c:pt idx="44">
                  <c:v>Bic</c:v>
                </c:pt>
                <c:pt idx="45">
                  <c:v>Gillette</c:v>
                </c:pt>
                <c:pt idx="46">
                  <c:v>Gillette</c:v>
                </c:pt>
                <c:pt idx="47">
                  <c:v>Bic</c:v>
                </c:pt>
                <c:pt idx="48">
                  <c:v>Equate</c:v>
                </c:pt>
                <c:pt idx="49">
                  <c:v>Comfort 3</c:v>
                </c:pt>
                <c:pt idx="50">
                  <c:v>Gillette</c:v>
                </c:pt>
                <c:pt idx="51">
                  <c:v>Equate</c:v>
                </c:pt>
                <c:pt idx="52">
                  <c:v>Equate</c:v>
                </c:pt>
                <c:pt idx="53">
                  <c:v>Gillette</c:v>
                </c:pt>
                <c:pt idx="54">
                  <c:v>Gillette</c:v>
                </c:pt>
                <c:pt idx="55">
                  <c:v>Equate</c:v>
                </c:pt>
                <c:pt idx="56">
                  <c:v>Gillette</c:v>
                </c:pt>
                <c:pt idx="57">
                  <c:v>Gillette</c:v>
                </c:pt>
                <c:pt idx="58">
                  <c:v>Bic</c:v>
                </c:pt>
                <c:pt idx="59">
                  <c:v>Equate</c:v>
                </c:pt>
                <c:pt idx="60">
                  <c:v>Gillette</c:v>
                </c:pt>
                <c:pt idx="61">
                  <c:v>Dollar Shav</c:v>
                </c:pt>
                <c:pt idx="62">
                  <c:v>Bic</c:v>
                </c:pt>
                <c:pt idx="63">
                  <c:v>Schick</c:v>
                </c:pt>
                <c:pt idx="64">
                  <c:v>Equate</c:v>
                </c:pt>
                <c:pt idx="65">
                  <c:v>Gillette</c:v>
                </c:pt>
                <c:pt idx="66">
                  <c:v>Gillette</c:v>
                </c:pt>
                <c:pt idx="67">
                  <c:v>Bic</c:v>
                </c:pt>
                <c:pt idx="68">
                  <c:v>Gillette</c:v>
                </c:pt>
                <c:pt idx="69">
                  <c:v>Gillette</c:v>
                </c:pt>
                <c:pt idx="70">
                  <c:v>Gillette</c:v>
                </c:pt>
                <c:pt idx="71">
                  <c:v>Gillette</c:v>
                </c:pt>
                <c:pt idx="72">
                  <c:v>Bic</c:v>
                </c:pt>
                <c:pt idx="73">
                  <c:v>Gillette</c:v>
                </c:pt>
                <c:pt idx="74">
                  <c:v>Gillette</c:v>
                </c:pt>
                <c:pt idx="75">
                  <c:v>Gillette</c:v>
                </c:pt>
                <c:pt idx="76">
                  <c:v>Equate</c:v>
                </c:pt>
                <c:pt idx="77">
                  <c:v>Gillette</c:v>
                </c:pt>
                <c:pt idx="78">
                  <c:v>Gillette</c:v>
                </c:pt>
                <c:pt idx="79">
                  <c:v>Gillette</c:v>
                </c:pt>
                <c:pt idx="80">
                  <c:v>Schick</c:v>
                </c:pt>
                <c:pt idx="81">
                  <c:v>Bic</c:v>
                </c:pt>
                <c:pt idx="82">
                  <c:v>Schick</c:v>
                </c:pt>
                <c:pt idx="83">
                  <c:v>Harry's</c:v>
                </c:pt>
                <c:pt idx="84">
                  <c:v>Bic</c:v>
                </c:pt>
                <c:pt idx="85">
                  <c:v>Gillette</c:v>
                </c:pt>
                <c:pt idx="86">
                  <c:v>Gillette</c:v>
                </c:pt>
                <c:pt idx="87">
                  <c:v>Dollar Shav</c:v>
                </c:pt>
                <c:pt idx="88">
                  <c:v>Bic</c:v>
                </c:pt>
                <c:pt idx="89">
                  <c:v>Bic</c:v>
                </c:pt>
                <c:pt idx="90">
                  <c:v>Bic</c:v>
                </c:pt>
                <c:pt idx="91">
                  <c:v>Bic</c:v>
                </c:pt>
                <c:pt idx="92">
                  <c:v>Gillette</c:v>
                </c:pt>
                <c:pt idx="93">
                  <c:v>Schick</c:v>
                </c:pt>
                <c:pt idx="94">
                  <c:v>Harry's</c:v>
                </c:pt>
                <c:pt idx="95">
                  <c:v>Harry's</c:v>
                </c:pt>
                <c:pt idx="96">
                  <c:v>Van Der Hag</c:v>
                </c:pt>
                <c:pt idx="97">
                  <c:v>Gillette</c:v>
                </c:pt>
                <c:pt idx="98">
                  <c:v>Van Der Hag</c:v>
                </c:pt>
                <c:pt idx="99">
                  <c:v>Bic</c:v>
                </c:pt>
                <c:pt idx="100">
                  <c:v>Gillette</c:v>
                </c:pt>
                <c:pt idx="101">
                  <c:v>Bic</c:v>
                </c:pt>
                <c:pt idx="102">
                  <c:v>Gillette</c:v>
                </c:pt>
                <c:pt idx="103">
                  <c:v>Gillette</c:v>
                </c:pt>
                <c:pt idx="104">
                  <c:v>Equate</c:v>
                </c:pt>
                <c:pt idx="105">
                  <c:v>Comfort 3</c:v>
                </c:pt>
                <c:pt idx="106">
                  <c:v>Bic</c:v>
                </c:pt>
                <c:pt idx="107">
                  <c:v>Gillette</c:v>
                </c:pt>
                <c:pt idx="108">
                  <c:v>Schick</c:v>
                </c:pt>
                <c:pt idx="109">
                  <c:v>Schick</c:v>
                </c:pt>
                <c:pt idx="110">
                  <c:v>Gillette</c:v>
                </c:pt>
                <c:pt idx="111">
                  <c:v>Harry's</c:v>
                </c:pt>
                <c:pt idx="112">
                  <c:v>Gillette</c:v>
                </c:pt>
                <c:pt idx="113">
                  <c:v>Gillette</c:v>
                </c:pt>
                <c:pt idx="114">
                  <c:v>Harry's</c:v>
                </c:pt>
                <c:pt idx="115">
                  <c:v>Schick</c:v>
                </c:pt>
                <c:pt idx="116">
                  <c:v>Gillette</c:v>
                </c:pt>
                <c:pt idx="117">
                  <c:v>Gillette</c:v>
                </c:pt>
                <c:pt idx="118">
                  <c:v>Dollar Shav</c:v>
                </c:pt>
                <c:pt idx="119">
                  <c:v>Gillette</c:v>
                </c:pt>
                <c:pt idx="120">
                  <c:v>Schick</c:v>
                </c:pt>
                <c:pt idx="121">
                  <c:v>Gillette</c:v>
                </c:pt>
                <c:pt idx="122">
                  <c:v>Gillette</c:v>
                </c:pt>
                <c:pt idx="123">
                  <c:v>Dollar Shav</c:v>
                </c:pt>
                <c:pt idx="124">
                  <c:v>Dollar Shav</c:v>
                </c:pt>
                <c:pt idx="125">
                  <c:v>Gillette</c:v>
                </c:pt>
                <c:pt idx="126">
                  <c:v>Cremo</c:v>
                </c:pt>
                <c:pt idx="127">
                  <c:v>Equate</c:v>
                </c:pt>
                <c:pt idx="128">
                  <c:v>Harry's</c:v>
                </c:pt>
                <c:pt idx="129">
                  <c:v>Equate</c:v>
                </c:pt>
                <c:pt idx="130">
                  <c:v>Van Der Hag</c:v>
                </c:pt>
                <c:pt idx="131">
                  <c:v>Gillette</c:v>
                </c:pt>
                <c:pt idx="132">
                  <c:v>Dollar Shav</c:v>
                </c:pt>
                <c:pt idx="133">
                  <c:v>Schick</c:v>
                </c:pt>
                <c:pt idx="134">
                  <c:v>Gillette</c:v>
                </c:pt>
                <c:pt idx="135">
                  <c:v>Schick</c:v>
                </c:pt>
                <c:pt idx="136">
                  <c:v>Schick</c:v>
                </c:pt>
                <c:pt idx="137">
                  <c:v>Dollar Shav</c:v>
                </c:pt>
                <c:pt idx="138">
                  <c:v>Gillette</c:v>
                </c:pt>
                <c:pt idx="139">
                  <c:v>Gillette</c:v>
                </c:pt>
                <c:pt idx="140">
                  <c:v>Gillette</c:v>
                </c:pt>
                <c:pt idx="141">
                  <c:v>Gillette</c:v>
                </c:pt>
                <c:pt idx="142">
                  <c:v>Schick</c:v>
                </c:pt>
                <c:pt idx="143">
                  <c:v>Gillette</c:v>
                </c:pt>
                <c:pt idx="144">
                  <c:v>Equate</c:v>
                </c:pt>
                <c:pt idx="145">
                  <c:v>Gillette</c:v>
                </c:pt>
                <c:pt idx="146">
                  <c:v>Schick</c:v>
                </c:pt>
                <c:pt idx="147">
                  <c:v>All Others</c:v>
                </c:pt>
                <c:pt idx="148">
                  <c:v>Gillette</c:v>
                </c:pt>
                <c:pt idx="149">
                  <c:v>Gillette</c:v>
                </c:pt>
                <c:pt idx="150">
                  <c:v>Schick</c:v>
                </c:pt>
                <c:pt idx="151">
                  <c:v>Bic</c:v>
                </c:pt>
                <c:pt idx="152">
                  <c:v>Gillette</c:v>
                </c:pt>
                <c:pt idx="153">
                  <c:v>Equate</c:v>
                </c:pt>
                <c:pt idx="154">
                  <c:v>Bic</c:v>
                </c:pt>
                <c:pt idx="155">
                  <c:v>Bic</c:v>
                </c:pt>
                <c:pt idx="156">
                  <c:v>Equate</c:v>
                </c:pt>
                <c:pt idx="157">
                  <c:v>Schick</c:v>
                </c:pt>
                <c:pt idx="158">
                  <c:v>Schick</c:v>
                </c:pt>
                <c:pt idx="159">
                  <c:v>Schick</c:v>
                </c:pt>
                <c:pt idx="160">
                  <c:v>Schick</c:v>
                </c:pt>
                <c:pt idx="161">
                  <c:v>Gillette</c:v>
                </c:pt>
                <c:pt idx="162">
                  <c:v>Bic</c:v>
                </c:pt>
                <c:pt idx="163">
                  <c:v>Harry's</c:v>
                </c:pt>
                <c:pt idx="164">
                  <c:v>Equate</c:v>
                </c:pt>
                <c:pt idx="165">
                  <c:v>Gillette</c:v>
                </c:pt>
                <c:pt idx="166">
                  <c:v>Gillette</c:v>
                </c:pt>
                <c:pt idx="167">
                  <c:v>Bic</c:v>
                </c:pt>
                <c:pt idx="168">
                  <c:v>Gillette</c:v>
                </c:pt>
              </c:strCache>
            </c:strRef>
          </c:cat>
          <c:val>
            <c:numRef>
              <c:f>Sheet1!$B$2:$B$170</c:f>
              <c:numCache>
                <c:formatCode>General</c:formatCode>
                <c:ptCount val="169"/>
                <c:pt idx="0">
                  <c:v>0.93</c:v>
                </c:pt>
                <c:pt idx="1">
                  <c:v>0.95</c:v>
                </c:pt>
                <c:pt idx="2">
                  <c:v>0.91</c:v>
                </c:pt>
                <c:pt idx="3">
                  <c:v>0.76</c:v>
                </c:pt>
                <c:pt idx="4">
                  <c:v>0.55000000000000004</c:v>
                </c:pt>
                <c:pt idx="5">
                  <c:v>0.79</c:v>
                </c:pt>
                <c:pt idx="6">
                  <c:v>0.73</c:v>
                </c:pt>
                <c:pt idx="7">
                  <c:v>0.66</c:v>
                </c:pt>
                <c:pt idx="8">
                  <c:v>0.9</c:v>
                </c:pt>
                <c:pt idx="9">
                  <c:v>0.8</c:v>
                </c:pt>
                <c:pt idx="10">
                  <c:v>0.56999999999999995</c:v>
                </c:pt>
                <c:pt idx="11">
                  <c:v>0.91</c:v>
                </c:pt>
                <c:pt idx="12">
                  <c:v>0.57999999999999996</c:v>
                </c:pt>
                <c:pt idx="13">
                  <c:v>0.87</c:v>
                </c:pt>
                <c:pt idx="14">
                  <c:v>0.28000000000000003</c:v>
                </c:pt>
                <c:pt idx="15">
                  <c:v>0.56000000000000005</c:v>
                </c:pt>
                <c:pt idx="16">
                  <c:v>0.81</c:v>
                </c:pt>
                <c:pt idx="17">
                  <c:v>0.71</c:v>
                </c:pt>
                <c:pt idx="18">
                  <c:v>0.48</c:v>
                </c:pt>
                <c:pt idx="19">
                  <c:v>0.69</c:v>
                </c:pt>
                <c:pt idx="20">
                  <c:v>0.56000000000000005</c:v>
                </c:pt>
                <c:pt idx="21">
                  <c:v>0.94</c:v>
                </c:pt>
                <c:pt idx="22">
                  <c:v>0.78</c:v>
                </c:pt>
                <c:pt idx="23">
                  <c:v>0.77</c:v>
                </c:pt>
                <c:pt idx="24">
                  <c:v>0.51</c:v>
                </c:pt>
                <c:pt idx="25">
                  <c:v>0.65</c:v>
                </c:pt>
                <c:pt idx="26">
                  <c:v>0.45</c:v>
                </c:pt>
                <c:pt idx="27">
                  <c:v>0.65</c:v>
                </c:pt>
                <c:pt idx="28">
                  <c:v>0.73</c:v>
                </c:pt>
                <c:pt idx="29">
                  <c:v>0.42</c:v>
                </c:pt>
                <c:pt idx="30">
                  <c:v>0.68</c:v>
                </c:pt>
                <c:pt idx="31">
                  <c:v>0.85</c:v>
                </c:pt>
                <c:pt idx="32">
                  <c:v>0.95</c:v>
                </c:pt>
                <c:pt idx="33">
                  <c:v>0.61</c:v>
                </c:pt>
                <c:pt idx="34">
                  <c:v>0.61</c:v>
                </c:pt>
                <c:pt idx="35">
                  <c:v>0.81</c:v>
                </c:pt>
                <c:pt idx="36">
                  <c:v>0.51</c:v>
                </c:pt>
                <c:pt idx="37">
                  <c:v>0.37</c:v>
                </c:pt>
                <c:pt idx="38">
                  <c:v>0.49</c:v>
                </c:pt>
                <c:pt idx="39">
                  <c:v>0.31</c:v>
                </c:pt>
                <c:pt idx="40">
                  <c:v>0.42</c:v>
                </c:pt>
                <c:pt idx="41">
                  <c:v>0.56999999999999995</c:v>
                </c:pt>
                <c:pt idx="42">
                  <c:v>0.7</c:v>
                </c:pt>
                <c:pt idx="43">
                  <c:v>0.31</c:v>
                </c:pt>
                <c:pt idx="44">
                  <c:v>0.69</c:v>
                </c:pt>
                <c:pt idx="45">
                  <c:v>0.23</c:v>
                </c:pt>
                <c:pt idx="46">
                  <c:v>0.56999999999999995</c:v>
                </c:pt>
                <c:pt idx="47">
                  <c:v>0.62</c:v>
                </c:pt>
                <c:pt idx="48">
                  <c:v>0.82</c:v>
                </c:pt>
                <c:pt idx="49">
                  <c:v>0.69</c:v>
                </c:pt>
                <c:pt idx="50">
                  <c:v>0.45</c:v>
                </c:pt>
                <c:pt idx="51">
                  <c:v>0.65</c:v>
                </c:pt>
                <c:pt idx="52">
                  <c:v>0.74</c:v>
                </c:pt>
                <c:pt idx="53">
                  <c:v>0.26</c:v>
                </c:pt>
                <c:pt idx="54">
                  <c:v>0.42</c:v>
                </c:pt>
                <c:pt idx="55">
                  <c:v>0.53</c:v>
                </c:pt>
                <c:pt idx="56">
                  <c:v>0.21</c:v>
                </c:pt>
                <c:pt idx="57">
                  <c:v>0.14000000000000001</c:v>
                </c:pt>
                <c:pt idx="58">
                  <c:v>0.39</c:v>
                </c:pt>
                <c:pt idx="59">
                  <c:v>0.95</c:v>
                </c:pt>
                <c:pt idx="60">
                  <c:v>0.23</c:v>
                </c:pt>
                <c:pt idx="61">
                  <c:v>0.27</c:v>
                </c:pt>
                <c:pt idx="62">
                  <c:v>0.57999999999999996</c:v>
                </c:pt>
                <c:pt idx="63">
                  <c:v>0.3</c:v>
                </c:pt>
                <c:pt idx="64">
                  <c:v>0.4</c:v>
                </c:pt>
                <c:pt idx="65">
                  <c:v>0.32</c:v>
                </c:pt>
                <c:pt idx="66">
                  <c:v>0.28999999999999998</c:v>
                </c:pt>
                <c:pt idx="67">
                  <c:v>0.48</c:v>
                </c:pt>
                <c:pt idx="68">
                  <c:v>0.21</c:v>
                </c:pt>
                <c:pt idx="69">
                  <c:v>0.16</c:v>
                </c:pt>
                <c:pt idx="70">
                  <c:v>0.44</c:v>
                </c:pt>
                <c:pt idx="71">
                  <c:v>0.16</c:v>
                </c:pt>
                <c:pt idx="72">
                  <c:v>0.43</c:v>
                </c:pt>
                <c:pt idx="73">
                  <c:v>0.08</c:v>
                </c:pt>
                <c:pt idx="74">
                  <c:v>0.41</c:v>
                </c:pt>
                <c:pt idx="75">
                  <c:v>0.18</c:v>
                </c:pt>
                <c:pt idx="76">
                  <c:v>0.41</c:v>
                </c:pt>
                <c:pt idx="77">
                  <c:v>0.4</c:v>
                </c:pt>
                <c:pt idx="78">
                  <c:v>0.21</c:v>
                </c:pt>
                <c:pt idx="79">
                  <c:v>0.06</c:v>
                </c:pt>
                <c:pt idx="80">
                  <c:v>0.71</c:v>
                </c:pt>
                <c:pt idx="81">
                  <c:v>0.38</c:v>
                </c:pt>
                <c:pt idx="82">
                  <c:v>0.61</c:v>
                </c:pt>
                <c:pt idx="83">
                  <c:v>0.27</c:v>
                </c:pt>
                <c:pt idx="84">
                  <c:v>0.53</c:v>
                </c:pt>
                <c:pt idx="85">
                  <c:v>0.24</c:v>
                </c:pt>
                <c:pt idx="86">
                  <c:v>0.23</c:v>
                </c:pt>
                <c:pt idx="87">
                  <c:v>0.34</c:v>
                </c:pt>
                <c:pt idx="88">
                  <c:v>0.11</c:v>
                </c:pt>
                <c:pt idx="89">
                  <c:v>0.37</c:v>
                </c:pt>
                <c:pt idx="90">
                  <c:v>0.11</c:v>
                </c:pt>
                <c:pt idx="91">
                  <c:v>0.36</c:v>
                </c:pt>
                <c:pt idx="92">
                  <c:v>0.33</c:v>
                </c:pt>
                <c:pt idx="93">
                  <c:v>0.24</c:v>
                </c:pt>
                <c:pt idx="94">
                  <c:v>0.34</c:v>
                </c:pt>
                <c:pt idx="95">
                  <c:v>0.22</c:v>
                </c:pt>
                <c:pt idx="96">
                  <c:v>0.06</c:v>
                </c:pt>
                <c:pt idx="97">
                  <c:v>0.01</c:v>
                </c:pt>
                <c:pt idx="98">
                  <c:v>0.13</c:v>
                </c:pt>
                <c:pt idx="99">
                  <c:v>0.05</c:v>
                </c:pt>
                <c:pt idx="100">
                  <c:v>0.05</c:v>
                </c:pt>
                <c:pt idx="101">
                  <c:v>0.01</c:v>
                </c:pt>
                <c:pt idx="102">
                  <c:v>0.16</c:v>
                </c:pt>
                <c:pt idx="103">
                  <c:v>0.01</c:v>
                </c:pt>
                <c:pt idx="104">
                  <c:v>0.06</c:v>
                </c:pt>
                <c:pt idx="105">
                  <c:v>0.01</c:v>
                </c:pt>
                <c:pt idx="106">
                  <c:v>0.01</c:v>
                </c:pt>
                <c:pt idx="107">
                  <c:v>0.01</c:v>
                </c:pt>
                <c:pt idx="108">
                  <c:v>0.01</c:v>
                </c:pt>
                <c:pt idx="109">
                  <c:v>0.01</c:v>
                </c:pt>
                <c:pt idx="110">
                  <c:v>0.01</c:v>
                </c:pt>
                <c:pt idx="111">
                  <c:v>0.01</c:v>
                </c:pt>
                <c:pt idx="112">
                  <c:v>0.01</c:v>
                </c:pt>
                <c:pt idx="113">
                  <c:v>0.01</c:v>
                </c:pt>
                <c:pt idx="114">
                  <c:v>0.01</c:v>
                </c:pt>
                <c:pt idx="115">
                  <c:v>0.01</c:v>
                </c:pt>
                <c:pt idx="116">
                  <c:v>0.01</c:v>
                </c:pt>
                <c:pt idx="117">
                  <c:v>0.01</c:v>
                </c:pt>
                <c:pt idx="118">
                  <c:v>0.01</c:v>
                </c:pt>
                <c:pt idx="119">
                  <c:v>0.01</c:v>
                </c:pt>
                <c:pt idx="120">
                  <c:v>0.01</c:v>
                </c:pt>
                <c:pt idx="121">
                  <c:v>0.01</c:v>
                </c:pt>
                <c:pt idx="122">
                  <c:v>0.01</c:v>
                </c:pt>
                <c:pt idx="123">
                  <c:v>0.01</c:v>
                </c:pt>
                <c:pt idx="124">
                  <c:v>0.01</c:v>
                </c:pt>
                <c:pt idx="125">
                  <c:v>0.01</c:v>
                </c:pt>
                <c:pt idx="126">
                  <c:v>0.01</c:v>
                </c:pt>
                <c:pt idx="127">
                  <c:v>0.01</c:v>
                </c:pt>
                <c:pt idx="128">
                  <c:v>0.01</c:v>
                </c:pt>
                <c:pt idx="129">
                  <c:v>0.01</c:v>
                </c:pt>
                <c:pt idx="130">
                  <c:v>0.01</c:v>
                </c:pt>
                <c:pt idx="131">
                  <c:v>0.01</c:v>
                </c:pt>
                <c:pt idx="132">
                  <c:v>0.01</c:v>
                </c:pt>
                <c:pt idx="133">
                  <c:v>0.01</c:v>
                </c:pt>
                <c:pt idx="134">
                  <c:v>0.01</c:v>
                </c:pt>
                <c:pt idx="135">
                  <c:v>0.01</c:v>
                </c:pt>
                <c:pt idx="136">
                  <c:v>0.01</c:v>
                </c:pt>
                <c:pt idx="137">
                  <c:v>0.01</c:v>
                </c:pt>
                <c:pt idx="138">
                  <c:v>0.01</c:v>
                </c:pt>
                <c:pt idx="139">
                  <c:v>0.01</c:v>
                </c:pt>
                <c:pt idx="140">
                  <c:v>0.01</c:v>
                </c:pt>
                <c:pt idx="141">
                  <c:v>0.01</c:v>
                </c:pt>
                <c:pt idx="142">
                  <c:v>0.01</c:v>
                </c:pt>
                <c:pt idx="143">
                  <c:v>0.01</c:v>
                </c:pt>
                <c:pt idx="144">
                  <c:v>0.01</c:v>
                </c:pt>
                <c:pt idx="145">
                  <c:v>0.01</c:v>
                </c:pt>
                <c:pt idx="146">
                  <c:v>0.01</c:v>
                </c:pt>
                <c:pt idx="147">
                  <c:v>0.01</c:v>
                </c:pt>
                <c:pt idx="148">
                  <c:v>0.01</c:v>
                </c:pt>
                <c:pt idx="149">
                  <c:v>0.01</c:v>
                </c:pt>
                <c:pt idx="150">
                  <c:v>0.01</c:v>
                </c:pt>
                <c:pt idx="151">
                  <c:v>0.01</c:v>
                </c:pt>
                <c:pt idx="152">
                  <c:v>0.01</c:v>
                </c:pt>
                <c:pt idx="153">
                  <c:v>0.01</c:v>
                </c:pt>
                <c:pt idx="154">
                  <c:v>0.01</c:v>
                </c:pt>
                <c:pt idx="155">
                  <c:v>0.01</c:v>
                </c:pt>
                <c:pt idx="156">
                  <c:v>0.01</c:v>
                </c:pt>
                <c:pt idx="157">
                  <c:v>0.01</c:v>
                </c:pt>
                <c:pt idx="158">
                  <c:v>0.01</c:v>
                </c:pt>
                <c:pt idx="159">
                  <c:v>0.01</c:v>
                </c:pt>
                <c:pt idx="160">
                  <c:v>0.01</c:v>
                </c:pt>
                <c:pt idx="161">
                  <c:v>0.01</c:v>
                </c:pt>
                <c:pt idx="162">
                  <c:v>0.01</c:v>
                </c:pt>
                <c:pt idx="163">
                  <c:v>0.01</c:v>
                </c:pt>
                <c:pt idx="164">
                  <c:v>0.01</c:v>
                </c:pt>
                <c:pt idx="165">
                  <c:v>0.01</c:v>
                </c:pt>
                <c:pt idx="166">
                  <c:v>0.01</c:v>
                </c:pt>
                <c:pt idx="167">
                  <c:v>0.01</c:v>
                </c:pt>
                <c:pt idx="16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70</c:f>
              <c:strCache>
                <c:ptCount val="169"/>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pt idx="19">
                  <c:v>Harry's</c:v>
                </c:pt>
                <c:pt idx="20">
                  <c:v>Schick</c:v>
                </c:pt>
                <c:pt idx="21">
                  <c:v>Bic</c:v>
                </c:pt>
                <c:pt idx="22">
                  <c:v>Bic</c:v>
                </c:pt>
                <c:pt idx="23">
                  <c:v>Schick</c:v>
                </c:pt>
                <c:pt idx="24">
                  <c:v>Bic</c:v>
                </c:pt>
                <c:pt idx="25">
                  <c:v>Schick</c:v>
                </c:pt>
                <c:pt idx="26">
                  <c:v>Gillette</c:v>
                </c:pt>
                <c:pt idx="27">
                  <c:v>Equate</c:v>
                </c:pt>
                <c:pt idx="28">
                  <c:v>Gillette</c:v>
                </c:pt>
                <c:pt idx="29">
                  <c:v>Harry's</c:v>
                </c:pt>
                <c:pt idx="30">
                  <c:v>Dollar Shav</c:v>
                </c:pt>
                <c:pt idx="31">
                  <c:v>Bic</c:v>
                </c:pt>
                <c:pt idx="32">
                  <c:v>Equate</c:v>
                </c:pt>
                <c:pt idx="33">
                  <c:v>Dollar Shav</c:v>
                </c:pt>
                <c:pt idx="34">
                  <c:v>Schick</c:v>
                </c:pt>
                <c:pt idx="35">
                  <c:v>Schick</c:v>
                </c:pt>
                <c:pt idx="36">
                  <c:v>Gillette</c:v>
                </c:pt>
                <c:pt idx="37">
                  <c:v>Harry's</c:v>
                </c:pt>
                <c:pt idx="38">
                  <c:v>Harry's</c:v>
                </c:pt>
                <c:pt idx="39">
                  <c:v>Gillette</c:v>
                </c:pt>
                <c:pt idx="40">
                  <c:v>Gillette</c:v>
                </c:pt>
                <c:pt idx="41">
                  <c:v>Gillette</c:v>
                </c:pt>
                <c:pt idx="42">
                  <c:v>Bic</c:v>
                </c:pt>
                <c:pt idx="43">
                  <c:v>Gillette</c:v>
                </c:pt>
                <c:pt idx="44">
                  <c:v>Bic</c:v>
                </c:pt>
                <c:pt idx="45">
                  <c:v>Gillette</c:v>
                </c:pt>
                <c:pt idx="46">
                  <c:v>Gillette</c:v>
                </c:pt>
                <c:pt idx="47">
                  <c:v>Bic</c:v>
                </c:pt>
                <c:pt idx="48">
                  <c:v>Equate</c:v>
                </c:pt>
                <c:pt idx="49">
                  <c:v>Comfort 3</c:v>
                </c:pt>
                <c:pt idx="50">
                  <c:v>Gillette</c:v>
                </c:pt>
                <c:pt idx="51">
                  <c:v>Equate</c:v>
                </c:pt>
                <c:pt idx="52">
                  <c:v>Equate</c:v>
                </c:pt>
                <c:pt idx="53">
                  <c:v>Gillette</c:v>
                </c:pt>
                <c:pt idx="54">
                  <c:v>Gillette</c:v>
                </c:pt>
                <c:pt idx="55">
                  <c:v>Equate</c:v>
                </c:pt>
                <c:pt idx="56">
                  <c:v>Gillette</c:v>
                </c:pt>
                <c:pt idx="57">
                  <c:v>Gillette</c:v>
                </c:pt>
                <c:pt idx="58">
                  <c:v>Bic</c:v>
                </c:pt>
                <c:pt idx="59">
                  <c:v>Equate</c:v>
                </c:pt>
                <c:pt idx="60">
                  <c:v>Gillette</c:v>
                </c:pt>
                <c:pt idx="61">
                  <c:v>Dollar Shav</c:v>
                </c:pt>
                <c:pt idx="62">
                  <c:v>Bic</c:v>
                </c:pt>
                <c:pt idx="63">
                  <c:v>Schick</c:v>
                </c:pt>
                <c:pt idx="64">
                  <c:v>Equate</c:v>
                </c:pt>
                <c:pt idx="65">
                  <c:v>Gillette</c:v>
                </c:pt>
                <c:pt idx="66">
                  <c:v>Gillette</c:v>
                </c:pt>
                <c:pt idx="67">
                  <c:v>Bic</c:v>
                </c:pt>
                <c:pt idx="68">
                  <c:v>Gillette</c:v>
                </c:pt>
                <c:pt idx="69">
                  <c:v>Gillette</c:v>
                </c:pt>
                <c:pt idx="70">
                  <c:v>Gillette</c:v>
                </c:pt>
                <c:pt idx="71">
                  <c:v>Gillette</c:v>
                </c:pt>
                <c:pt idx="72">
                  <c:v>Bic</c:v>
                </c:pt>
                <c:pt idx="73">
                  <c:v>Gillette</c:v>
                </c:pt>
                <c:pt idx="74">
                  <c:v>Gillette</c:v>
                </c:pt>
                <c:pt idx="75">
                  <c:v>Gillette</c:v>
                </c:pt>
                <c:pt idx="76">
                  <c:v>Equate</c:v>
                </c:pt>
                <c:pt idx="77">
                  <c:v>Gillette</c:v>
                </c:pt>
                <c:pt idx="78">
                  <c:v>Gillette</c:v>
                </c:pt>
                <c:pt idx="79">
                  <c:v>Gillette</c:v>
                </c:pt>
                <c:pt idx="80">
                  <c:v>Schick</c:v>
                </c:pt>
                <c:pt idx="81">
                  <c:v>Bic</c:v>
                </c:pt>
                <c:pt idx="82">
                  <c:v>Schick</c:v>
                </c:pt>
                <c:pt idx="83">
                  <c:v>Harry's</c:v>
                </c:pt>
                <c:pt idx="84">
                  <c:v>Bic</c:v>
                </c:pt>
                <c:pt idx="85">
                  <c:v>Gillette</c:v>
                </c:pt>
                <c:pt idx="86">
                  <c:v>Gillette</c:v>
                </c:pt>
                <c:pt idx="87">
                  <c:v>Dollar Shav</c:v>
                </c:pt>
                <c:pt idx="88">
                  <c:v>Bic</c:v>
                </c:pt>
                <c:pt idx="89">
                  <c:v>Bic</c:v>
                </c:pt>
                <c:pt idx="90">
                  <c:v>Bic</c:v>
                </c:pt>
                <c:pt idx="91">
                  <c:v>Bic</c:v>
                </c:pt>
                <c:pt idx="92">
                  <c:v>Gillette</c:v>
                </c:pt>
                <c:pt idx="93">
                  <c:v>Schick</c:v>
                </c:pt>
                <c:pt idx="94">
                  <c:v>Harry's</c:v>
                </c:pt>
                <c:pt idx="95">
                  <c:v>Harry's</c:v>
                </c:pt>
                <c:pt idx="96">
                  <c:v>Van Der Hag</c:v>
                </c:pt>
                <c:pt idx="97">
                  <c:v>Gillette</c:v>
                </c:pt>
                <c:pt idx="98">
                  <c:v>Van Der Hag</c:v>
                </c:pt>
                <c:pt idx="99">
                  <c:v>Bic</c:v>
                </c:pt>
                <c:pt idx="100">
                  <c:v>Gillette</c:v>
                </c:pt>
                <c:pt idx="101">
                  <c:v>Bic</c:v>
                </c:pt>
                <c:pt idx="102">
                  <c:v>Gillette</c:v>
                </c:pt>
                <c:pt idx="103">
                  <c:v>Gillette</c:v>
                </c:pt>
                <c:pt idx="104">
                  <c:v>Equate</c:v>
                </c:pt>
                <c:pt idx="105">
                  <c:v>Comfort 3</c:v>
                </c:pt>
                <c:pt idx="106">
                  <c:v>Bic</c:v>
                </c:pt>
                <c:pt idx="107">
                  <c:v>Gillette</c:v>
                </c:pt>
                <c:pt idx="108">
                  <c:v>Schick</c:v>
                </c:pt>
                <c:pt idx="109">
                  <c:v>Schick</c:v>
                </c:pt>
                <c:pt idx="110">
                  <c:v>Gillette</c:v>
                </c:pt>
                <c:pt idx="111">
                  <c:v>Harry's</c:v>
                </c:pt>
                <c:pt idx="112">
                  <c:v>Gillette</c:v>
                </c:pt>
                <c:pt idx="113">
                  <c:v>Gillette</c:v>
                </c:pt>
                <c:pt idx="114">
                  <c:v>Harry's</c:v>
                </c:pt>
                <c:pt idx="115">
                  <c:v>Schick</c:v>
                </c:pt>
                <c:pt idx="116">
                  <c:v>Gillette</c:v>
                </c:pt>
                <c:pt idx="117">
                  <c:v>Gillette</c:v>
                </c:pt>
                <c:pt idx="118">
                  <c:v>Dollar Shav</c:v>
                </c:pt>
                <c:pt idx="119">
                  <c:v>Gillette</c:v>
                </c:pt>
                <c:pt idx="120">
                  <c:v>Schick</c:v>
                </c:pt>
                <c:pt idx="121">
                  <c:v>Gillette</c:v>
                </c:pt>
                <c:pt idx="122">
                  <c:v>Gillette</c:v>
                </c:pt>
                <c:pt idx="123">
                  <c:v>Dollar Shav</c:v>
                </c:pt>
                <c:pt idx="124">
                  <c:v>Dollar Shav</c:v>
                </c:pt>
                <c:pt idx="125">
                  <c:v>Gillette</c:v>
                </c:pt>
                <c:pt idx="126">
                  <c:v>Cremo</c:v>
                </c:pt>
                <c:pt idx="127">
                  <c:v>Equate</c:v>
                </c:pt>
                <c:pt idx="128">
                  <c:v>Harry's</c:v>
                </c:pt>
                <c:pt idx="129">
                  <c:v>Equate</c:v>
                </c:pt>
                <c:pt idx="130">
                  <c:v>Van Der Hag</c:v>
                </c:pt>
                <c:pt idx="131">
                  <c:v>Gillette</c:v>
                </c:pt>
                <c:pt idx="132">
                  <c:v>Dollar Shav</c:v>
                </c:pt>
                <c:pt idx="133">
                  <c:v>Schick</c:v>
                </c:pt>
                <c:pt idx="134">
                  <c:v>Gillette</c:v>
                </c:pt>
                <c:pt idx="135">
                  <c:v>Schick</c:v>
                </c:pt>
                <c:pt idx="136">
                  <c:v>Schick</c:v>
                </c:pt>
                <c:pt idx="137">
                  <c:v>Dollar Shav</c:v>
                </c:pt>
                <c:pt idx="138">
                  <c:v>Gillette</c:v>
                </c:pt>
                <c:pt idx="139">
                  <c:v>Gillette</c:v>
                </c:pt>
                <c:pt idx="140">
                  <c:v>Gillette</c:v>
                </c:pt>
                <c:pt idx="141">
                  <c:v>Gillette</c:v>
                </c:pt>
                <c:pt idx="142">
                  <c:v>Schick</c:v>
                </c:pt>
                <c:pt idx="143">
                  <c:v>Gillette</c:v>
                </c:pt>
                <c:pt idx="144">
                  <c:v>Equate</c:v>
                </c:pt>
                <c:pt idx="145">
                  <c:v>Gillette</c:v>
                </c:pt>
                <c:pt idx="146">
                  <c:v>Schick</c:v>
                </c:pt>
                <c:pt idx="147">
                  <c:v>All Others</c:v>
                </c:pt>
                <c:pt idx="148">
                  <c:v>Gillette</c:v>
                </c:pt>
                <c:pt idx="149">
                  <c:v>Gillette</c:v>
                </c:pt>
                <c:pt idx="150">
                  <c:v>Schick</c:v>
                </c:pt>
                <c:pt idx="151">
                  <c:v>Bic</c:v>
                </c:pt>
                <c:pt idx="152">
                  <c:v>Gillette</c:v>
                </c:pt>
                <c:pt idx="153">
                  <c:v>Equate</c:v>
                </c:pt>
                <c:pt idx="154">
                  <c:v>Bic</c:v>
                </c:pt>
                <c:pt idx="155">
                  <c:v>Bic</c:v>
                </c:pt>
                <c:pt idx="156">
                  <c:v>Equate</c:v>
                </c:pt>
                <c:pt idx="157">
                  <c:v>Schick</c:v>
                </c:pt>
                <c:pt idx="158">
                  <c:v>Schick</c:v>
                </c:pt>
                <c:pt idx="159">
                  <c:v>Schick</c:v>
                </c:pt>
                <c:pt idx="160">
                  <c:v>Schick</c:v>
                </c:pt>
                <c:pt idx="161">
                  <c:v>Gillette</c:v>
                </c:pt>
                <c:pt idx="162">
                  <c:v>Bic</c:v>
                </c:pt>
                <c:pt idx="163">
                  <c:v>Harry's</c:v>
                </c:pt>
                <c:pt idx="164">
                  <c:v>Equate</c:v>
                </c:pt>
                <c:pt idx="165">
                  <c:v>Gillette</c:v>
                </c:pt>
                <c:pt idx="166">
                  <c:v>Gillette</c:v>
                </c:pt>
                <c:pt idx="167">
                  <c:v>Bic</c:v>
                </c:pt>
                <c:pt idx="168">
                  <c:v>Gillette</c:v>
                </c:pt>
              </c:strCache>
            </c:strRef>
          </c:cat>
          <c:val>
            <c:numRef>
              <c:f>Sheet1!$C$2:$C$170</c:f>
              <c:numCache>
                <c:formatCode>General</c:formatCode>
                <c:ptCount val="169"/>
                <c:pt idx="0">
                  <c:v>6.1087047744617616E-2</c:v>
                </c:pt>
                <c:pt idx="1">
                  <c:v>0.11496672950225129</c:v>
                </c:pt>
                <c:pt idx="2">
                  <c:v>0.15531844008005341</c:v>
                </c:pt>
                <c:pt idx="3">
                  <c:v>0.18654378119524143</c:v>
                </c:pt>
                <c:pt idx="4">
                  <c:v>0.21732832399554053</c:v>
                </c:pt>
                <c:pt idx="5">
                  <c:v>0.24481174850342519</c:v>
                </c:pt>
                <c:pt idx="6">
                  <c:v>0.27186728510731728</c:v>
                </c:pt>
                <c:pt idx="7">
                  <c:v>0.29808449340137838</c:v>
                </c:pt>
                <c:pt idx="8">
                  <c:v>0.32086672088547424</c:v>
                </c:pt>
                <c:pt idx="9">
                  <c:v>0.34317860365717273</c:v>
                </c:pt>
                <c:pt idx="10">
                  <c:v>0.36381995303266296</c:v>
                </c:pt>
                <c:pt idx="11">
                  <c:v>0.38331238649904487</c:v>
                </c:pt>
                <c:pt idx="12">
                  <c:v>0.40225974241738377</c:v>
                </c:pt>
                <c:pt idx="13">
                  <c:v>0.42097371499360536</c:v>
                </c:pt>
                <c:pt idx="14">
                  <c:v>0.43917850096407579</c:v>
                </c:pt>
                <c:pt idx="15">
                  <c:v>0.4552899929118156</c:v>
                </c:pt>
                <c:pt idx="16">
                  <c:v>0.47113719030506346</c:v>
                </c:pt>
                <c:pt idx="17">
                  <c:v>0.48688272743422484</c:v>
                </c:pt>
                <c:pt idx="18">
                  <c:v>0.50225611274757753</c:v>
                </c:pt>
                <c:pt idx="19">
                  <c:v>0.51743989945519553</c:v>
                </c:pt>
                <c:pt idx="20">
                  <c:v>0.53253486253584681</c:v>
                </c:pt>
                <c:pt idx="21">
                  <c:v>0.54733259107077636</c:v>
                </c:pt>
                <c:pt idx="22">
                  <c:v>0.56147716347501653</c:v>
                </c:pt>
                <c:pt idx="23">
                  <c:v>0.57397650688840518</c:v>
                </c:pt>
                <c:pt idx="24">
                  <c:v>0.58621011715865923</c:v>
                </c:pt>
                <c:pt idx="25">
                  <c:v>0.59827342066574651</c:v>
                </c:pt>
                <c:pt idx="26">
                  <c:v>0.61014078102231584</c:v>
                </c:pt>
                <c:pt idx="27">
                  <c:v>0.62197560714342637</c:v>
                </c:pt>
                <c:pt idx="28">
                  <c:v>0.63371563396166963</c:v>
                </c:pt>
                <c:pt idx="29">
                  <c:v>0.64507948829328221</c:v>
                </c:pt>
                <c:pt idx="30">
                  <c:v>0.65598882238756751</c:v>
                </c:pt>
                <c:pt idx="31">
                  <c:v>0.66687868020484342</c:v>
                </c:pt>
                <c:pt idx="32">
                  <c:v>0.67767635768831957</c:v>
                </c:pt>
                <c:pt idx="33">
                  <c:v>0.68837610048342501</c:v>
                </c:pt>
                <c:pt idx="34">
                  <c:v>0.69904917405830747</c:v>
                </c:pt>
                <c:pt idx="35">
                  <c:v>0.70967872110502517</c:v>
                </c:pt>
                <c:pt idx="36">
                  <c:v>0.72028458676947016</c:v>
                </c:pt>
                <c:pt idx="37">
                  <c:v>0.73046739671228667</c:v>
                </c:pt>
                <c:pt idx="38">
                  <c:v>0.74033482376034998</c:v>
                </c:pt>
                <c:pt idx="39">
                  <c:v>0.750152748604348</c:v>
                </c:pt>
                <c:pt idx="40">
                  <c:v>0.75969841132598659</c:v>
                </c:pt>
                <c:pt idx="41">
                  <c:v>0.76924296744097687</c:v>
                </c:pt>
                <c:pt idx="42">
                  <c:v>0.77870412230157693</c:v>
                </c:pt>
                <c:pt idx="43">
                  <c:v>0.7879931629414848</c:v>
                </c:pt>
                <c:pt idx="44">
                  <c:v>0.79725575568249929</c:v>
                </c:pt>
                <c:pt idx="45">
                  <c:v>0.80645239466727769</c:v>
                </c:pt>
                <c:pt idx="46">
                  <c:v>0.81549204305555678</c:v>
                </c:pt>
                <c:pt idx="47">
                  <c:v>0.82422099318389364</c:v>
                </c:pt>
                <c:pt idx="48">
                  <c:v>0.83287967379006622</c:v>
                </c:pt>
                <c:pt idx="49">
                  <c:v>0.84148490529512798</c:v>
                </c:pt>
                <c:pt idx="50">
                  <c:v>0.84990821066721634</c:v>
                </c:pt>
                <c:pt idx="51">
                  <c:v>0.85825047554576406</c:v>
                </c:pt>
                <c:pt idx="52">
                  <c:v>0.86623169156187385</c:v>
                </c:pt>
                <c:pt idx="53">
                  <c:v>0.87397720036190496</c:v>
                </c:pt>
                <c:pt idx="54">
                  <c:v>0.88047032553121574</c:v>
                </c:pt>
                <c:pt idx="55">
                  <c:v>0.88692711711557548</c:v>
                </c:pt>
                <c:pt idx="56">
                  <c:v>0.89333304168100369</c:v>
                </c:pt>
                <c:pt idx="57">
                  <c:v>0.89956441749111349</c:v>
                </c:pt>
                <c:pt idx="58">
                  <c:v>0.90573570456022301</c:v>
                </c:pt>
                <c:pt idx="59">
                  <c:v>0.91178817896219799</c:v>
                </c:pt>
                <c:pt idx="60">
                  <c:v>0.9176824455003606</c:v>
                </c:pt>
                <c:pt idx="61">
                  <c:v>0.92344513650804549</c:v>
                </c:pt>
                <c:pt idx="62">
                  <c:v>0.92907300593908437</c:v>
                </c:pt>
                <c:pt idx="63">
                  <c:v>0.93445104047583527</c:v>
                </c:pt>
                <c:pt idx="64">
                  <c:v>0.9394112941159809</c:v>
                </c:pt>
                <c:pt idx="65">
                  <c:v>0.94432927538216316</c:v>
                </c:pt>
                <c:pt idx="66">
                  <c:v>0.94898705653845206</c:v>
                </c:pt>
                <c:pt idx="67">
                  <c:v>0.95328316175520234</c:v>
                </c:pt>
                <c:pt idx="68">
                  <c:v>0.95746561846917666</c:v>
                </c:pt>
                <c:pt idx="69">
                  <c:v>0.96061538985899786</c:v>
                </c:pt>
                <c:pt idx="70">
                  <c:v>0.96322318219939129</c:v>
                </c:pt>
                <c:pt idx="71">
                  <c:v>0.96577346788096363</c:v>
                </c:pt>
                <c:pt idx="72">
                  <c:v>0.96830084680491701</c:v>
                </c:pt>
                <c:pt idx="73">
                  <c:v>0.97080266311529573</c:v>
                </c:pt>
                <c:pt idx="74">
                  <c:v>0.97300326109601898</c:v>
                </c:pt>
                <c:pt idx="75">
                  <c:v>0.97476663879001602</c:v>
                </c:pt>
                <c:pt idx="76">
                  <c:v>0.97650331037690175</c:v>
                </c:pt>
                <c:pt idx="77">
                  <c:v>0.97822504277403599</c:v>
                </c:pt>
                <c:pt idx="78">
                  <c:v>0.97993548778335804</c:v>
                </c:pt>
                <c:pt idx="79">
                  <c:v>0.98149344239655034</c:v>
                </c:pt>
                <c:pt idx="80">
                  <c:v>0.98289835331028874</c:v>
                </c:pt>
                <c:pt idx="81">
                  <c:v>0.98429489090038869</c:v>
                </c:pt>
                <c:pt idx="82">
                  <c:v>0.98566652984090286</c:v>
                </c:pt>
                <c:pt idx="83">
                  <c:v>0.98697712098132151</c:v>
                </c:pt>
                <c:pt idx="84">
                  <c:v>0.98828332258203544</c:v>
                </c:pt>
                <c:pt idx="85">
                  <c:v>0.98956108439188917</c:v>
                </c:pt>
                <c:pt idx="86">
                  <c:v>0.99080627507939589</c:v>
                </c:pt>
                <c:pt idx="87">
                  <c:v>0.99189218818333014</c:v>
                </c:pt>
                <c:pt idx="88">
                  <c:v>0.99286629712890218</c:v>
                </c:pt>
                <c:pt idx="89">
                  <c:v>0.99376545191749899</c:v>
                </c:pt>
                <c:pt idx="90">
                  <c:v>0.99464937242123819</c:v>
                </c:pt>
                <c:pt idx="91">
                  <c:v>0.9954692941738198</c:v>
                </c:pt>
                <c:pt idx="92">
                  <c:v>0.99627423984976171</c:v>
                </c:pt>
                <c:pt idx="93">
                  <c:v>0.99693248637103304</c:v>
                </c:pt>
                <c:pt idx="94">
                  <c:v>0.99747505561067329</c:v>
                </c:pt>
                <c:pt idx="95">
                  <c:v>0.99792323130321725</c:v>
                </c:pt>
                <c:pt idx="96">
                  <c:v>0.99833061009732882</c:v>
                </c:pt>
                <c:pt idx="97">
                  <c:v>0.99872419319522543</c:v>
                </c:pt>
                <c:pt idx="98">
                  <c:v>0.99903876457843654</c:v>
                </c:pt>
                <c:pt idx="99">
                  <c:v>0.99921172719755902</c:v>
                </c:pt>
                <c:pt idx="100">
                  <c:v>0.99935525407983794</c:v>
                </c:pt>
                <c:pt idx="101">
                  <c:v>0.99945938576543891</c:v>
                </c:pt>
                <c:pt idx="102">
                  <c:v>0.99953109387624595</c:v>
                </c:pt>
                <c:pt idx="103">
                  <c:v>0.99958601845288775</c:v>
                </c:pt>
                <c:pt idx="104">
                  <c:v>0.99962799573174499</c:v>
                </c:pt>
                <c:pt idx="105">
                  <c:v>0.99966967791549599</c:v>
                </c:pt>
                <c:pt idx="106">
                  <c:v>0.9997081140530788</c:v>
                </c:pt>
                <c:pt idx="107">
                  <c:v>0.99974404188225885</c:v>
                </c:pt>
                <c:pt idx="108">
                  <c:v>0.99977775649814238</c:v>
                </c:pt>
                <c:pt idx="109">
                  <c:v>0.99980870459740534</c:v>
                </c:pt>
                <c:pt idx="110">
                  <c:v>0.9998342303240918</c:v>
                </c:pt>
                <c:pt idx="111">
                  <c:v>0.99985916586056589</c:v>
                </c:pt>
                <c:pt idx="112">
                  <c:v>0.99988063402954208</c:v>
                </c:pt>
                <c:pt idx="113">
                  <c:v>0.99989158943535983</c:v>
                </c:pt>
                <c:pt idx="114">
                  <c:v>0.99990228663295966</c:v>
                </c:pt>
                <c:pt idx="115">
                  <c:v>0.99991261496167672</c:v>
                </c:pt>
                <c:pt idx="116">
                  <c:v>0.99992179979685725</c:v>
                </c:pt>
                <c:pt idx="117">
                  <c:v>0.99993080019759639</c:v>
                </c:pt>
                <c:pt idx="118">
                  <c:v>0.99993965305078247</c:v>
                </c:pt>
                <c:pt idx="119">
                  <c:v>0.99994714108910232</c:v>
                </c:pt>
                <c:pt idx="120">
                  <c:v>0.9999531905387794</c:v>
                </c:pt>
                <c:pt idx="121">
                  <c:v>0.99995684234071869</c:v>
                </c:pt>
                <c:pt idx="122">
                  <c:v>0.99996030970821659</c:v>
                </c:pt>
                <c:pt idx="123">
                  <c:v>0.99996351886749657</c:v>
                </c:pt>
                <c:pt idx="124">
                  <c:v>0.99996643293167031</c:v>
                </c:pt>
                <c:pt idx="125">
                  <c:v>0.99996931010895573</c:v>
                </c:pt>
                <c:pt idx="126">
                  <c:v>0.99997181841735849</c:v>
                </c:pt>
                <c:pt idx="127">
                  <c:v>0.99997432672576125</c:v>
                </c:pt>
                <c:pt idx="128">
                  <c:v>0.99997653993905777</c:v>
                </c:pt>
                <c:pt idx="129">
                  <c:v>0.99997849494413638</c:v>
                </c:pt>
                <c:pt idx="130">
                  <c:v>0.99998041306232666</c:v>
                </c:pt>
                <c:pt idx="131">
                  <c:v>0.99998222051985219</c:v>
                </c:pt>
                <c:pt idx="132">
                  <c:v>0.99998399109048941</c:v>
                </c:pt>
                <c:pt idx="133">
                  <c:v>0.99998561411357356</c:v>
                </c:pt>
                <c:pt idx="134">
                  <c:v>0.99998720024976939</c:v>
                </c:pt>
                <c:pt idx="135">
                  <c:v>0.9999883068564176</c:v>
                </c:pt>
                <c:pt idx="136">
                  <c:v>0.99998930280240106</c:v>
                </c:pt>
                <c:pt idx="137">
                  <c:v>0.9999902618614962</c:v>
                </c:pt>
                <c:pt idx="138">
                  <c:v>0.99999107337303828</c:v>
                </c:pt>
                <c:pt idx="139">
                  <c:v>0.99999173733702718</c:v>
                </c:pt>
                <c:pt idx="140">
                  <c:v>0.99999240130101608</c:v>
                </c:pt>
                <c:pt idx="141">
                  <c:v>0.99999302837811677</c:v>
                </c:pt>
                <c:pt idx="142">
                  <c:v>0.99999361856832913</c:v>
                </c:pt>
                <c:pt idx="143">
                  <c:v>0.99999417187165329</c:v>
                </c:pt>
                <c:pt idx="144">
                  <c:v>0.99999472517497745</c:v>
                </c:pt>
                <c:pt idx="145">
                  <c:v>0.99999527847830161</c:v>
                </c:pt>
                <c:pt idx="146">
                  <c:v>0.99999579489473744</c:v>
                </c:pt>
                <c:pt idx="147">
                  <c:v>0.99999627442428507</c:v>
                </c:pt>
                <c:pt idx="148">
                  <c:v>0.99999664329316784</c:v>
                </c:pt>
                <c:pt idx="149">
                  <c:v>0.99999701216205061</c:v>
                </c:pt>
                <c:pt idx="150">
                  <c:v>0.99999738103093339</c:v>
                </c:pt>
                <c:pt idx="151">
                  <c:v>0.99999774989981616</c:v>
                </c:pt>
                <c:pt idx="152">
                  <c:v>0.99999808188181061</c:v>
                </c:pt>
                <c:pt idx="153">
                  <c:v>0.99999841386380506</c:v>
                </c:pt>
                <c:pt idx="154">
                  <c:v>0.9999987089589113</c:v>
                </c:pt>
                <c:pt idx="155">
                  <c:v>0.99999893028024089</c:v>
                </c:pt>
                <c:pt idx="156">
                  <c:v>0.99999907782779396</c:v>
                </c:pt>
                <c:pt idx="157">
                  <c:v>0.99999918848845881</c:v>
                </c:pt>
                <c:pt idx="158">
                  <c:v>0.99999929914912367</c:v>
                </c:pt>
                <c:pt idx="159">
                  <c:v>0.99999940980978852</c:v>
                </c:pt>
                <c:pt idx="160">
                  <c:v>0.99999952047045337</c:v>
                </c:pt>
                <c:pt idx="161">
                  <c:v>0.99999963113111823</c:v>
                </c:pt>
                <c:pt idx="162">
                  <c:v>0.99999970490489476</c:v>
                </c:pt>
                <c:pt idx="163">
                  <c:v>0.99999977867867129</c:v>
                </c:pt>
                <c:pt idx="164">
                  <c:v>0.99999985245244782</c:v>
                </c:pt>
                <c:pt idx="165">
                  <c:v>0.99999988933933615</c:v>
                </c:pt>
                <c:pt idx="166">
                  <c:v>0.99999992622622447</c:v>
                </c:pt>
                <c:pt idx="167">
                  <c:v>0.99999996311311279</c:v>
                </c:pt>
                <c:pt idx="168">
                  <c:v>1.00000000000000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5</c:f>
              <c:strCache>
                <c:ptCount val="214"/>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pt idx="22">
                  <c:v>Gillette</c:v>
                </c:pt>
                <c:pt idx="23">
                  <c:v>Harry's</c:v>
                </c:pt>
                <c:pt idx="24">
                  <c:v>Schick</c:v>
                </c:pt>
                <c:pt idx="25">
                  <c:v>Gillette</c:v>
                </c:pt>
                <c:pt idx="26">
                  <c:v>Harry's</c:v>
                </c:pt>
                <c:pt idx="27">
                  <c:v>Gillette</c:v>
                </c:pt>
                <c:pt idx="28">
                  <c:v>Gillette</c:v>
                </c:pt>
                <c:pt idx="29">
                  <c:v>Gillette</c:v>
                </c:pt>
                <c:pt idx="30">
                  <c:v>Gillette</c:v>
                </c:pt>
                <c:pt idx="31">
                  <c:v>Schick</c:v>
                </c:pt>
                <c:pt idx="32">
                  <c:v>Gillette</c:v>
                </c:pt>
                <c:pt idx="33">
                  <c:v>Gillette</c:v>
                </c:pt>
                <c:pt idx="34">
                  <c:v>Schick</c:v>
                </c:pt>
                <c:pt idx="35">
                  <c:v>Bic</c:v>
                </c:pt>
                <c:pt idx="36">
                  <c:v>Gillette</c:v>
                </c:pt>
                <c:pt idx="37">
                  <c:v>Gillette</c:v>
                </c:pt>
                <c:pt idx="38">
                  <c:v>Bic</c:v>
                </c:pt>
                <c:pt idx="39">
                  <c:v>Gillette</c:v>
                </c:pt>
                <c:pt idx="40">
                  <c:v>Equate</c:v>
                </c:pt>
                <c:pt idx="41">
                  <c:v>Gillette</c:v>
                </c:pt>
                <c:pt idx="42">
                  <c:v>Gillette</c:v>
                </c:pt>
                <c:pt idx="43">
                  <c:v>Harry's</c:v>
                </c:pt>
                <c:pt idx="44">
                  <c:v>Schick</c:v>
                </c:pt>
                <c:pt idx="45">
                  <c:v>Schick</c:v>
                </c:pt>
                <c:pt idx="46">
                  <c:v>Equate</c:v>
                </c:pt>
                <c:pt idx="47">
                  <c:v>Bic</c:v>
                </c:pt>
                <c:pt idx="48">
                  <c:v>Dollar Shav</c:v>
                </c:pt>
                <c:pt idx="49">
                  <c:v>Gillette</c:v>
                </c:pt>
                <c:pt idx="50">
                  <c:v>Bic</c:v>
                </c:pt>
                <c:pt idx="51">
                  <c:v>Gillette</c:v>
                </c:pt>
                <c:pt idx="52">
                  <c:v>Equate</c:v>
                </c:pt>
                <c:pt idx="53">
                  <c:v>Dollar Shav</c:v>
                </c:pt>
                <c:pt idx="54">
                  <c:v>Bic</c:v>
                </c:pt>
                <c:pt idx="55">
                  <c:v>Bic</c:v>
                </c:pt>
                <c:pt idx="56">
                  <c:v>Equate</c:v>
                </c:pt>
                <c:pt idx="57">
                  <c:v>Schick</c:v>
                </c:pt>
                <c:pt idx="58">
                  <c:v>Gillette</c:v>
                </c:pt>
                <c:pt idx="59">
                  <c:v>Equate</c:v>
                </c:pt>
                <c:pt idx="60">
                  <c:v>Bic</c:v>
                </c:pt>
                <c:pt idx="61">
                  <c:v>Bic</c:v>
                </c:pt>
                <c:pt idx="62">
                  <c:v>Bic</c:v>
                </c:pt>
                <c:pt idx="63">
                  <c:v>Gillette</c:v>
                </c:pt>
                <c:pt idx="64">
                  <c:v>Comfort 3</c:v>
                </c:pt>
                <c:pt idx="65">
                  <c:v>Van Der Hag</c:v>
                </c:pt>
                <c:pt idx="66">
                  <c:v>Van Der Hag</c:v>
                </c:pt>
                <c:pt idx="67">
                  <c:v>Dollar Shav</c:v>
                </c:pt>
                <c:pt idx="68">
                  <c:v>Comfort 3</c:v>
                </c:pt>
                <c:pt idx="69">
                  <c:v>Schick</c:v>
                </c:pt>
                <c:pt idx="70">
                  <c:v>Gillette</c:v>
                </c:pt>
                <c:pt idx="71">
                  <c:v>Gillette</c:v>
                </c:pt>
                <c:pt idx="72">
                  <c:v>Gillette</c:v>
                </c:pt>
                <c:pt idx="73">
                  <c:v>Equate</c:v>
                </c:pt>
                <c:pt idx="74">
                  <c:v>Equate</c:v>
                </c:pt>
                <c:pt idx="75">
                  <c:v>Bic</c:v>
                </c:pt>
                <c:pt idx="76">
                  <c:v>Gillette</c:v>
                </c:pt>
                <c:pt idx="77">
                  <c:v>Bic</c:v>
                </c:pt>
                <c:pt idx="78">
                  <c:v>Gillette</c:v>
                </c:pt>
                <c:pt idx="79">
                  <c:v>Equate</c:v>
                </c:pt>
                <c:pt idx="80">
                  <c:v>Bic</c:v>
                </c:pt>
                <c:pt idx="81">
                  <c:v>Gillette</c:v>
                </c:pt>
                <c:pt idx="82">
                  <c:v>Gillette</c:v>
                </c:pt>
                <c:pt idx="83">
                  <c:v>Gillette</c:v>
                </c:pt>
                <c:pt idx="84">
                  <c:v>Gillette</c:v>
                </c:pt>
                <c:pt idx="85">
                  <c:v>Bic</c:v>
                </c:pt>
                <c:pt idx="86">
                  <c:v>Harry's</c:v>
                </c:pt>
                <c:pt idx="87">
                  <c:v>Gillette</c:v>
                </c:pt>
                <c:pt idx="88">
                  <c:v>Gillette</c:v>
                </c:pt>
                <c:pt idx="89">
                  <c:v>Gillette</c:v>
                </c:pt>
                <c:pt idx="90">
                  <c:v>Gillette</c:v>
                </c:pt>
                <c:pt idx="91">
                  <c:v>Gillette</c:v>
                </c:pt>
                <c:pt idx="92">
                  <c:v>Gillette</c:v>
                </c:pt>
                <c:pt idx="93">
                  <c:v>Bic</c:v>
                </c:pt>
                <c:pt idx="94">
                  <c:v>Equate</c:v>
                </c:pt>
                <c:pt idx="95">
                  <c:v>Harry's</c:v>
                </c:pt>
                <c:pt idx="96">
                  <c:v>Gillette</c:v>
                </c:pt>
                <c:pt idx="97">
                  <c:v>Schick</c:v>
                </c:pt>
                <c:pt idx="98">
                  <c:v>Harry's</c:v>
                </c:pt>
                <c:pt idx="99">
                  <c:v>Bic</c:v>
                </c:pt>
                <c:pt idx="100">
                  <c:v>Schick</c:v>
                </c:pt>
                <c:pt idx="101">
                  <c:v>Schick</c:v>
                </c:pt>
                <c:pt idx="102">
                  <c:v>Gillette</c:v>
                </c:pt>
                <c:pt idx="103">
                  <c:v>Gillette</c:v>
                </c:pt>
                <c:pt idx="104">
                  <c:v>Gillette</c:v>
                </c:pt>
                <c:pt idx="105">
                  <c:v>Gillette</c:v>
                </c:pt>
                <c:pt idx="106">
                  <c:v>Bic</c:v>
                </c:pt>
                <c:pt idx="107">
                  <c:v>Bic</c:v>
                </c:pt>
                <c:pt idx="108">
                  <c:v>Dollar Shav</c:v>
                </c:pt>
                <c:pt idx="109">
                  <c:v>Bic</c:v>
                </c:pt>
                <c:pt idx="110">
                  <c:v>Gillette</c:v>
                </c:pt>
                <c:pt idx="111">
                  <c:v>Gillette</c:v>
                </c:pt>
                <c:pt idx="112">
                  <c:v>Gillette</c:v>
                </c:pt>
                <c:pt idx="113">
                  <c:v>Harry's</c:v>
                </c:pt>
                <c:pt idx="114">
                  <c:v>Harry's</c:v>
                </c:pt>
                <c:pt idx="115">
                  <c:v>Gillette</c:v>
                </c:pt>
                <c:pt idx="116">
                  <c:v>Gillette</c:v>
                </c:pt>
                <c:pt idx="117">
                  <c:v>Gillette</c:v>
                </c:pt>
                <c:pt idx="118">
                  <c:v>Schick</c:v>
                </c:pt>
                <c:pt idx="119">
                  <c:v>Schick</c:v>
                </c:pt>
                <c:pt idx="120">
                  <c:v>Schick</c:v>
                </c:pt>
                <c:pt idx="121">
                  <c:v>Gillette</c:v>
                </c:pt>
                <c:pt idx="122">
                  <c:v>Bic</c:v>
                </c:pt>
                <c:pt idx="123">
                  <c:v>Schick</c:v>
                </c:pt>
                <c:pt idx="124">
                  <c:v>Gillette</c:v>
                </c:pt>
                <c:pt idx="125">
                  <c:v>Cremo</c:v>
                </c:pt>
                <c:pt idx="126">
                  <c:v>Bic</c:v>
                </c:pt>
                <c:pt idx="127">
                  <c:v>Bic</c:v>
                </c:pt>
                <c:pt idx="128">
                  <c:v>Cremo</c:v>
                </c:pt>
                <c:pt idx="129">
                  <c:v>Bic</c:v>
                </c:pt>
                <c:pt idx="130">
                  <c:v>Harry's</c:v>
                </c:pt>
                <c:pt idx="131">
                  <c:v>Comfort 3</c:v>
                </c:pt>
                <c:pt idx="132">
                  <c:v>Schick</c:v>
                </c:pt>
                <c:pt idx="133">
                  <c:v>Dollar Shav</c:v>
                </c:pt>
                <c:pt idx="134">
                  <c:v>Gillette</c:v>
                </c:pt>
                <c:pt idx="135">
                  <c:v>Bic</c:v>
                </c:pt>
                <c:pt idx="136">
                  <c:v>Harry's</c:v>
                </c:pt>
                <c:pt idx="137">
                  <c:v>Bic</c:v>
                </c:pt>
                <c:pt idx="138">
                  <c:v>Van Der Hag</c:v>
                </c:pt>
                <c:pt idx="139">
                  <c:v>Schick</c:v>
                </c:pt>
                <c:pt idx="140">
                  <c:v>Bic</c:v>
                </c:pt>
                <c:pt idx="141">
                  <c:v>Schick</c:v>
                </c:pt>
                <c:pt idx="142">
                  <c:v>Dollar Shav</c:v>
                </c:pt>
                <c:pt idx="143">
                  <c:v>Gillette</c:v>
                </c:pt>
                <c:pt idx="144">
                  <c:v>Gillette</c:v>
                </c:pt>
                <c:pt idx="145">
                  <c:v>Dollar Shav</c:v>
                </c:pt>
                <c:pt idx="146">
                  <c:v>Gillette</c:v>
                </c:pt>
                <c:pt idx="147">
                  <c:v>Gillette</c:v>
                </c:pt>
                <c:pt idx="148">
                  <c:v>Gillette</c:v>
                </c:pt>
                <c:pt idx="149">
                  <c:v>Gillette</c:v>
                </c:pt>
                <c:pt idx="150">
                  <c:v>Equate</c:v>
                </c:pt>
                <c:pt idx="151">
                  <c:v>Dollar Shav</c:v>
                </c:pt>
                <c:pt idx="152">
                  <c:v>Van Der Hag</c:v>
                </c:pt>
                <c:pt idx="153">
                  <c:v>Gillette</c:v>
                </c:pt>
                <c:pt idx="154">
                  <c:v>Cremo</c:v>
                </c:pt>
                <c:pt idx="155">
                  <c:v>Schick</c:v>
                </c:pt>
                <c:pt idx="156">
                  <c:v>Gillette</c:v>
                </c:pt>
                <c:pt idx="157">
                  <c:v>Schick</c:v>
                </c:pt>
                <c:pt idx="158">
                  <c:v>Schick</c:v>
                </c:pt>
                <c:pt idx="159">
                  <c:v>Comfort 3</c:v>
                </c:pt>
                <c:pt idx="160">
                  <c:v>Schick</c:v>
                </c:pt>
                <c:pt idx="161">
                  <c:v>Harry's</c:v>
                </c:pt>
                <c:pt idx="162">
                  <c:v>Equate</c:v>
                </c:pt>
                <c:pt idx="163">
                  <c:v>Schick</c:v>
                </c:pt>
                <c:pt idx="164">
                  <c:v>Gillette</c:v>
                </c:pt>
                <c:pt idx="165">
                  <c:v>Gillette</c:v>
                </c:pt>
                <c:pt idx="166">
                  <c:v>Gillette</c:v>
                </c:pt>
                <c:pt idx="167">
                  <c:v>Gillette</c:v>
                </c:pt>
                <c:pt idx="168">
                  <c:v>Schick</c:v>
                </c:pt>
                <c:pt idx="169">
                  <c:v>All Others</c:v>
                </c:pt>
                <c:pt idx="170">
                  <c:v>Dollar Shav</c:v>
                </c:pt>
                <c:pt idx="171">
                  <c:v>Gillette</c:v>
                </c:pt>
                <c:pt idx="172">
                  <c:v>Gillette</c:v>
                </c:pt>
                <c:pt idx="173">
                  <c:v>Equate</c:v>
                </c:pt>
                <c:pt idx="174">
                  <c:v>Gillette</c:v>
                </c:pt>
                <c:pt idx="175">
                  <c:v>Gillette</c:v>
                </c:pt>
                <c:pt idx="176">
                  <c:v>Gillette</c:v>
                </c:pt>
                <c:pt idx="177">
                  <c:v>Gillette</c:v>
                </c:pt>
                <c:pt idx="178">
                  <c:v>Bic</c:v>
                </c:pt>
                <c:pt idx="179">
                  <c:v>Schick</c:v>
                </c:pt>
                <c:pt idx="180">
                  <c:v>All Others</c:v>
                </c:pt>
                <c:pt idx="181">
                  <c:v>Schick</c:v>
                </c:pt>
                <c:pt idx="182">
                  <c:v>Schick</c:v>
                </c:pt>
                <c:pt idx="183">
                  <c:v>Cremo</c:v>
                </c:pt>
                <c:pt idx="184">
                  <c:v>Bic</c:v>
                </c:pt>
                <c:pt idx="185">
                  <c:v>Schick</c:v>
                </c:pt>
                <c:pt idx="186">
                  <c:v>Harry's</c:v>
                </c:pt>
                <c:pt idx="187">
                  <c:v>Schick</c:v>
                </c:pt>
                <c:pt idx="188">
                  <c:v>Bic</c:v>
                </c:pt>
                <c:pt idx="189">
                  <c:v>Schick</c:v>
                </c:pt>
                <c:pt idx="190">
                  <c:v>Gillette</c:v>
                </c:pt>
                <c:pt idx="191">
                  <c:v>Bic</c:v>
                </c:pt>
                <c:pt idx="192">
                  <c:v>Schick</c:v>
                </c:pt>
                <c:pt idx="193">
                  <c:v>Bic</c:v>
                </c:pt>
                <c:pt idx="194">
                  <c:v>Harry's</c:v>
                </c:pt>
                <c:pt idx="195">
                  <c:v>Bic</c:v>
                </c:pt>
                <c:pt idx="196">
                  <c:v>Gillette</c:v>
                </c:pt>
                <c:pt idx="197">
                  <c:v>Gillette</c:v>
                </c:pt>
                <c:pt idx="198">
                  <c:v>Schick</c:v>
                </c:pt>
                <c:pt idx="199">
                  <c:v>Gillette</c:v>
                </c:pt>
                <c:pt idx="200">
                  <c:v>Schick</c:v>
                </c:pt>
                <c:pt idx="201">
                  <c:v>Equate</c:v>
                </c:pt>
                <c:pt idx="202">
                  <c:v>Dollar Shav</c:v>
                </c:pt>
                <c:pt idx="203">
                  <c:v>Schick</c:v>
                </c:pt>
                <c:pt idx="204">
                  <c:v>Edgewell Pe</c:v>
                </c:pt>
                <c:pt idx="205">
                  <c:v>Bic</c:v>
                </c:pt>
                <c:pt idx="206">
                  <c:v>Schick</c:v>
                </c:pt>
                <c:pt idx="207">
                  <c:v>Gillette</c:v>
                </c:pt>
                <c:pt idx="208">
                  <c:v>Gillette</c:v>
                </c:pt>
                <c:pt idx="209">
                  <c:v>Schick</c:v>
                </c:pt>
                <c:pt idx="210">
                  <c:v>Bic</c:v>
                </c:pt>
                <c:pt idx="211">
                  <c:v>Equate</c:v>
                </c:pt>
                <c:pt idx="212">
                  <c:v>Schick</c:v>
                </c:pt>
                <c:pt idx="213">
                  <c:v>Gillette</c:v>
                </c:pt>
              </c:strCache>
            </c:strRef>
          </c:cat>
          <c:val>
            <c:numRef>
              <c:f>Sheet1!$B$2:$B$215</c:f>
              <c:numCache>
                <c:formatCode>General</c:formatCode>
                <c:ptCount val="214"/>
                <c:pt idx="0">
                  <c:v>0.99</c:v>
                </c:pt>
                <c:pt idx="1">
                  <c:v>0.99</c:v>
                </c:pt>
                <c:pt idx="2">
                  <c:v>0.99</c:v>
                </c:pt>
                <c:pt idx="3">
                  <c:v>0.88</c:v>
                </c:pt>
                <c:pt idx="4">
                  <c:v>0.93</c:v>
                </c:pt>
                <c:pt idx="5">
                  <c:v>0.94</c:v>
                </c:pt>
                <c:pt idx="6">
                  <c:v>0.9</c:v>
                </c:pt>
                <c:pt idx="7">
                  <c:v>0.87</c:v>
                </c:pt>
                <c:pt idx="8">
                  <c:v>0.52</c:v>
                </c:pt>
                <c:pt idx="9">
                  <c:v>0.95</c:v>
                </c:pt>
                <c:pt idx="10">
                  <c:v>0.96</c:v>
                </c:pt>
                <c:pt idx="11">
                  <c:v>0.98</c:v>
                </c:pt>
                <c:pt idx="12">
                  <c:v>0.88</c:v>
                </c:pt>
                <c:pt idx="13">
                  <c:v>0.98</c:v>
                </c:pt>
                <c:pt idx="14">
                  <c:v>0.79</c:v>
                </c:pt>
                <c:pt idx="15">
                  <c:v>0.77</c:v>
                </c:pt>
                <c:pt idx="16">
                  <c:v>0.9</c:v>
                </c:pt>
                <c:pt idx="17">
                  <c:v>0.81</c:v>
                </c:pt>
                <c:pt idx="18">
                  <c:v>0.95</c:v>
                </c:pt>
                <c:pt idx="19">
                  <c:v>0.74</c:v>
                </c:pt>
                <c:pt idx="20">
                  <c:v>0.99</c:v>
                </c:pt>
                <c:pt idx="21">
                  <c:v>0.76</c:v>
                </c:pt>
                <c:pt idx="22">
                  <c:v>0.95</c:v>
                </c:pt>
                <c:pt idx="23">
                  <c:v>0.75</c:v>
                </c:pt>
                <c:pt idx="24">
                  <c:v>0.94</c:v>
                </c:pt>
                <c:pt idx="25">
                  <c:v>0.68</c:v>
                </c:pt>
                <c:pt idx="26">
                  <c:v>0.88</c:v>
                </c:pt>
                <c:pt idx="27">
                  <c:v>0.76</c:v>
                </c:pt>
                <c:pt idx="28">
                  <c:v>0.67</c:v>
                </c:pt>
                <c:pt idx="29">
                  <c:v>0.73</c:v>
                </c:pt>
                <c:pt idx="30">
                  <c:v>0.67</c:v>
                </c:pt>
                <c:pt idx="31">
                  <c:v>0.79</c:v>
                </c:pt>
                <c:pt idx="32">
                  <c:v>0.54</c:v>
                </c:pt>
                <c:pt idx="33">
                  <c:v>0.53</c:v>
                </c:pt>
                <c:pt idx="34">
                  <c:v>0.87</c:v>
                </c:pt>
                <c:pt idx="35">
                  <c:v>0.92</c:v>
                </c:pt>
                <c:pt idx="36">
                  <c:v>0.82</c:v>
                </c:pt>
                <c:pt idx="37">
                  <c:v>0.71</c:v>
                </c:pt>
                <c:pt idx="38">
                  <c:v>0.8</c:v>
                </c:pt>
                <c:pt idx="39">
                  <c:v>0.69</c:v>
                </c:pt>
                <c:pt idx="40">
                  <c:v>0.99</c:v>
                </c:pt>
                <c:pt idx="41">
                  <c:v>0.84</c:v>
                </c:pt>
                <c:pt idx="42">
                  <c:v>0.91</c:v>
                </c:pt>
                <c:pt idx="43">
                  <c:v>0.8</c:v>
                </c:pt>
                <c:pt idx="44">
                  <c:v>0.95</c:v>
                </c:pt>
                <c:pt idx="45">
                  <c:v>0.83</c:v>
                </c:pt>
                <c:pt idx="46">
                  <c:v>0.83</c:v>
                </c:pt>
                <c:pt idx="47">
                  <c:v>0.59</c:v>
                </c:pt>
                <c:pt idx="48">
                  <c:v>0.84</c:v>
                </c:pt>
                <c:pt idx="49">
                  <c:v>0.32</c:v>
                </c:pt>
                <c:pt idx="50">
                  <c:v>0.77</c:v>
                </c:pt>
                <c:pt idx="51">
                  <c:v>0.54</c:v>
                </c:pt>
                <c:pt idx="52">
                  <c:v>0.9</c:v>
                </c:pt>
                <c:pt idx="53">
                  <c:v>0.83</c:v>
                </c:pt>
                <c:pt idx="54">
                  <c:v>0.9</c:v>
                </c:pt>
                <c:pt idx="55">
                  <c:v>0.95</c:v>
                </c:pt>
                <c:pt idx="56">
                  <c:v>0.95</c:v>
                </c:pt>
                <c:pt idx="57">
                  <c:v>0.68</c:v>
                </c:pt>
                <c:pt idx="58">
                  <c:v>0.69</c:v>
                </c:pt>
                <c:pt idx="59">
                  <c:v>0.94</c:v>
                </c:pt>
                <c:pt idx="60">
                  <c:v>0.85</c:v>
                </c:pt>
                <c:pt idx="61">
                  <c:v>0.89</c:v>
                </c:pt>
                <c:pt idx="62">
                  <c:v>0.84</c:v>
                </c:pt>
                <c:pt idx="63">
                  <c:v>0.7</c:v>
                </c:pt>
                <c:pt idx="64">
                  <c:v>0.84</c:v>
                </c:pt>
                <c:pt idx="65">
                  <c:v>0.54</c:v>
                </c:pt>
                <c:pt idx="66">
                  <c:v>0.8</c:v>
                </c:pt>
                <c:pt idx="67">
                  <c:v>0.47</c:v>
                </c:pt>
                <c:pt idx="68">
                  <c:v>0.65</c:v>
                </c:pt>
                <c:pt idx="69">
                  <c:v>0.31</c:v>
                </c:pt>
                <c:pt idx="70">
                  <c:v>0.52</c:v>
                </c:pt>
                <c:pt idx="71">
                  <c:v>0.6</c:v>
                </c:pt>
                <c:pt idx="72">
                  <c:v>0.44</c:v>
                </c:pt>
                <c:pt idx="73">
                  <c:v>0.7</c:v>
                </c:pt>
                <c:pt idx="74">
                  <c:v>0.54</c:v>
                </c:pt>
                <c:pt idx="75">
                  <c:v>0.77</c:v>
                </c:pt>
                <c:pt idx="76">
                  <c:v>0.31</c:v>
                </c:pt>
                <c:pt idx="77">
                  <c:v>0.83</c:v>
                </c:pt>
                <c:pt idx="78">
                  <c:v>0.33</c:v>
                </c:pt>
                <c:pt idx="79">
                  <c:v>0.97</c:v>
                </c:pt>
                <c:pt idx="80">
                  <c:v>0.81</c:v>
                </c:pt>
                <c:pt idx="81">
                  <c:v>0.4</c:v>
                </c:pt>
                <c:pt idx="82">
                  <c:v>0.78</c:v>
                </c:pt>
                <c:pt idx="83">
                  <c:v>0.43</c:v>
                </c:pt>
                <c:pt idx="84">
                  <c:v>0.23</c:v>
                </c:pt>
                <c:pt idx="85">
                  <c:v>0.77</c:v>
                </c:pt>
                <c:pt idx="86">
                  <c:v>0.31</c:v>
                </c:pt>
                <c:pt idx="87">
                  <c:v>0.54</c:v>
                </c:pt>
                <c:pt idx="88">
                  <c:v>0.77</c:v>
                </c:pt>
                <c:pt idx="89">
                  <c:v>0.17</c:v>
                </c:pt>
                <c:pt idx="90">
                  <c:v>0.34</c:v>
                </c:pt>
                <c:pt idx="91">
                  <c:v>0.6</c:v>
                </c:pt>
                <c:pt idx="92">
                  <c:v>0.24</c:v>
                </c:pt>
                <c:pt idx="93">
                  <c:v>0.73</c:v>
                </c:pt>
                <c:pt idx="94">
                  <c:v>0.67</c:v>
                </c:pt>
                <c:pt idx="95">
                  <c:v>0.56999999999999995</c:v>
                </c:pt>
                <c:pt idx="96">
                  <c:v>0.59</c:v>
                </c:pt>
                <c:pt idx="97">
                  <c:v>0.84</c:v>
                </c:pt>
                <c:pt idx="98">
                  <c:v>0.14000000000000001</c:v>
                </c:pt>
                <c:pt idx="99">
                  <c:v>0.78</c:v>
                </c:pt>
                <c:pt idx="100">
                  <c:v>0.64</c:v>
                </c:pt>
                <c:pt idx="101">
                  <c:v>0.88</c:v>
                </c:pt>
                <c:pt idx="102">
                  <c:v>0.61</c:v>
                </c:pt>
                <c:pt idx="103">
                  <c:v>0.28000000000000003</c:v>
                </c:pt>
                <c:pt idx="104">
                  <c:v>0.65</c:v>
                </c:pt>
                <c:pt idx="105">
                  <c:v>0.4</c:v>
                </c:pt>
                <c:pt idx="106">
                  <c:v>0.48</c:v>
                </c:pt>
                <c:pt idx="107">
                  <c:v>0.67</c:v>
                </c:pt>
                <c:pt idx="108">
                  <c:v>0.62</c:v>
                </c:pt>
                <c:pt idx="109">
                  <c:v>0.61</c:v>
                </c:pt>
                <c:pt idx="110">
                  <c:v>0.19</c:v>
                </c:pt>
                <c:pt idx="111">
                  <c:v>0.28999999999999998</c:v>
                </c:pt>
                <c:pt idx="112">
                  <c:v>0.26</c:v>
                </c:pt>
                <c:pt idx="113">
                  <c:v>0.61</c:v>
                </c:pt>
                <c:pt idx="114">
                  <c:v>0.48</c:v>
                </c:pt>
                <c:pt idx="115">
                  <c:v>0.15</c:v>
                </c:pt>
                <c:pt idx="116">
                  <c:v>0.14000000000000001</c:v>
                </c:pt>
                <c:pt idx="117">
                  <c:v>0.05</c:v>
                </c:pt>
                <c:pt idx="118">
                  <c:v>0.05</c:v>
                </c:pt>
                <c:pt idx="119">
                  <c:v>0.04</c:v>
                </c:pt>
                <c:pt idx="120">
                  <c:v>0.04</c:v>
                </c:pt>
                <c:pt idx="121">
                  <c:v>0.05</c:v>
                </c:pt>
                <c:pt idx="122">
                  <c:v>0.03</c:v>
                </c:pt>
                <c:pt idx="123">
                  <c:v>0.04</c:v>
                </c:pt>
                <c:pt idx="124">
                  <c:v>0.36</c:v>
                </c:pt>
                <c:pt idx="125">
                  <c:v>0.05</c:v>
                </c:pt>
                <c:pt idx="126">
                  <c:v>0.04</c:v>
                </c:pt>
                <c:pt idx="127">
                  <c:v>0.03</c:v>
                </c:pt>
                <c:pt idx="128">
                  <c:v>0.04</c:v>
                </c:pt>
                <c:pt idx="129">
                  <c:v>0.02</c:v>
                </c:pt>
                <c:pt idx="130">
                  <c:v>0.01</c:v>
                </c:pt>
                <c:pt idx="131">
                  <c:v>0.01</c:v>
                </c:pt>
                <c:pt idx="132">
                  <c:v>0.01</c:v>
                </c:pt>
                <c:pt idx="133">
                  <c:v>0.01</c:v>
                </c:pt>
                <c:pt idx="134">
                  <c:v>0.01</c:v>
                </c:pt>
                <c:pt idx="135">
                  <c:v>0.01</c:v>
                </c:pt>
                <c:pt idx="136">
                  <c:v>0.01</c:v>
                </c:pt>
                <c:pt idx="137">
                  <c:v>0.02</c:v>
                </c:pt>
                <c:pt idx="138">
                  <c:v>0.01</c:v>
                </c:pt>
                <c:pt idx="139">
                  <c:v>0.01</c:v>
                </c:pt>
                <c:pt idx="140">
                  <c:v>0.01</c:v>
                </c:pt>
                <c:pt idx="141">
                  <c:v>0.01</c:v>
                </c:pt>
                <c:pt idx="142">
                  <c:v>0.01</c:v>
                </c:pt>
                <c:pt idx="143">
                  <c:v>0.01</c:v>
                </c:pt>
                <c:pt idx="144">
                  <c:v>0.01</c:v>
                </c:pt>
                <c:pt idx="145">
                  <c:v>0.01</c:v>
                </c:pt>
                <c:pt idx="146">
                  <c:v>0.01</c:v>
                </c:pt>
                <c:pt idx="147">
                  <c:v>0.01</c:v>
                </c:pt>
                <c:pt idx="148">
                  <c:v>0.01</c:v>
                </c:pt>
                <c:pt idx="149">
                  <c:v>0.01</c:v>
                </c:pt>
                <c:pt idx="150">
                  <c:v>0.01</c:v>
                </c:pt>
                <c:pt idx="151">
                  <c:v>0.01</c:v>
                </c:pt>
                <c:pt idx="152">
                  <c:v>0.01</c:v>
                </c:pt>
                <c:pt idx="153">
                  <c:v>0.01</c:v>
                </c:pt>
                <c:pt idx="154">
                  <c:v>0.01</c:v>
                </c:pt>
                <c:pt idx="155">
                  <c:v>0.01</c:v>
                </c:pt>
                <c:pt idx="156">
                  <c:v>0.01</c:v>
                </c:pt>
                <c:pt idx="157">
                  <c:v>0.01</c:v>
                </c:pt>
                <c:pt idx="158">
                  <c:v>0.01</c:v>
                </c:pt>
                <c:pt idx="159">
                  <c:v>0.01</c:v>
                </c:pt>
                <c:pt idx="160">
                  <c:v>0.01</c:v>
                </c:pt>
                <c:pt idx="161">
                  <c:v>0.01</c:v>
                </c:pt>
                <c:pt idx="162">
                  <c:v>0.01</c:v>
                </c:pt>
                <c:pt idx="163">
                  <c:v>0.01</c:v>
                </c:pt>
                <c:pt idx="164">
                  <c:v>0.01</c:v>
                </c:pt>
                <c:pt idx="165">
                  <c:v>0.01</c:v>
                </c:pt>
                <c:pt idx="166">
                  <c:v>0.01</c:v>
                </c:pt>
                <c:pt idx="167">
                  <c:v>0.01</c:v>
                </c:pt>
                <c:pt idx="168">
                  <c:v>0.01</c:v>
                </c:pt>
                <c:pt idx="169">
                  <c:v>0.01</c:v>
                </c:pt>
                <c:pt idx="170">
                  <c:v>0.01</c:v>
                </c:pt>
                <c:pt idx="171">
                  <c:v>0.01</c:v>
                </c:pt>
                <c:pt idx="172">
                  <c:v>0.01</c:v>
                </c:pt>
                <c:pt idx="173">
                  <c:v>0.01</c:v>
                </c:pt>
                <c:pt idx="174">
                  <c:v>0.01</c:v>
                </c:pt>
                <c:pt idx="175">
                  <c:v>0.01</c:v>
                </c:pt>
                <c:pt idx="176">
                  <c:v>0.01</c:v>
                </c:pt>
                <c:pt idx="177">
                  <c:v>0.01</c:v>
                </c:pt>
                <c:pt idx="178">
                  <c:v>0.01</c:v>
                </c:pt>
                <c:pt idx="179">
                  <c:v>0.01</c:v>
                </c:pt>
                <c:pt idx="180">
                  <c:v>0.01</c:v>
                </c:pt>
                <c:pt idx="181">
                  <c:v>0.01</c:v>
                </c:pt>
                <c:pt idx="182">
                  <c:v>0.01</c:v>
                </c:pt>
                <c:pt idx="183">
                  <c:v>0.01</c:v>
                </c:pt>
                <c:pt idx="184">
                  <c:v>0.01</c:v>
                </c:pt>
                <c:pt idx="185">
                  <c:v>0.01</c:v>
                </c:pt>
                <c:pt idx="186">
                  <c:v>0.01</c:v>
                </c:pt>
                <c:pt idx="187">
                  <c:v>0.01</c:v>
                </c:pt>
                <c:pt idx="188">
                  <c:v>0.01</c:v>
                </c:pt>
                <c:pt idx="189">
                  <c:v>0.01</c:v>
                </c:pt>
                <c:pt idx="190">
                  <c:v>0.01</c:v>
                </c:pt>
                <c:pt idx="191">
                  <c:v>0.01</c:v>
                </c:pt>
                <c:pt idx="192">
                  <c:v>0.01</c:v>
                </c:pt>
                <c:pt idx="193">
                  <c:v>0.01</c:v>
                </c:pt>
                <c:pt idx="194">
                  <c:v>0.01</c:v>
                </c:pt>
                <c:pt idx="195">
                  <c:v>0.01</c:v>
                </c:pt>
                <c:pt idx="196">
                  <c:v>0.01</c:v>
                </c:pt>
                <c:pt idx="197">
                  <c:v>0.01</c:v>
                </c:pt>
                <c:pt idx="198">
                  <c:v>0.01</c:v>
                </c:pt>
                <c:pt idx="199">
                  <c:v>0.01</c:v>
                </c:pt>
                <c:pt idx="200">
                  <c:v>0.01</c:v>
                </c:pt>
                <c:pt idx="201">
                  <c:v>0.01</c:v>
                </c:pt>
                <c:pt idx="202">
                  <c:v>0.01</c:v>
                </c:pt>
                <c:pt idx="203">
                  <c:v>0.01</c:v>
                </c:pt>
                <c:pt idx="204">
                  <c:v>0.01</c:v>
                </c:pt>
                <c:pt idx="205">
                  <c:v>0.01</c:v>
                </c:pt>
                <c:pt idx="206">
                  <c:v>0.01</c:v>
                </c:pt>
                <c:pt idx="207">
                  <c:v>0.01</c:v>
                </c:pt>
                <c:pt idx="208">
                  <c:v>0.01</c:v>
                </c:pt>
                <c:pt idx="209">
                  <c:v>0.01</c:v>
                </c:pt>
                <c:pt idx="210">
                  <c:v>0.01</c:v>
                </c:pt>
                <c:pt idx="211">
                  <c:v>0.01</c:v>
                </c:pt>
                <c:pt idx="212">
                  <c:v>0.01</c:v>
                </c:pt>
                <c:pt idx="21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8FE6-48D4-ADD7-4FB49CF04028}"/>
              </c:ext>
            </c:extLst>
          </c:dPt>
          <c:dPt>
            <c:idx val="211"/>
            <c:invertIfNegative val="1"/>
            <c:bubble3D val="0"/>
            <c:spPr>
              <a:solidFill>
                <a:srgbClr val="AEABAB"/>
              </a:solidFill>
            </c:spPr>
            <c:extLst>
              <c:ext xmlns:c16="http://schemas.microsoft.com/office/drawing/2014/chart" uri="{C3380CC4-5D6E-409C-BE32-E72D297353CC}">
                <c16:uniqueId val="{000001A9-8FE6-48D4-ADD7-4FB49CF04028}"/>
              </c:ext>
            </c:extLst>
          </c:dPt>
          <c:dPt>
            <c:idx val="212"/>
            <c:invertIfNegative val="1"/>
            <c:bubble3D val="0"/>
            <c:spPr>
              <a:solidFill>
                <a:srgbClr val="AEABAB"/>
              </a:solidFill>
            </c:spPr>
            <c:extLst>
              <c:ext xmlns:c16="http://schemas.microsoft.com/office/drawing/2014/chart" uri="{C3380CC4-5D6E-409C-BE32-E72D297353CC}">
                <c16:uniqueId val="{000001AB-8FE6-48D4-ADD7-4FB49CF04028}"/>
              </c:ext>
            </c:extLst>
          </c:dPt>
          <c:dPt>
            <c:idx val="213"/>
            <c:invertIfNegative val="1"/>
            <c:bubble3D val="0"/>
            <c:spPr>
              <a:solidFill>
                <a:srgbClr val="AEABAB"/>
              </a:solidFill>
            </c:spPr>
            <c:extLst>
              <c:ext xmlns:c16="http://schemas.microsoft.com/office/drawing/2014/chart" uri="{C3380CC4-5D6E-409C-BE32-E72D297353CC}">
                <c16:uniqueId val="{000001AD-8FE6-48D4-ADD7-4FB49CF04028}"/>
              </c:ext>
            </c:extLst>
          </c:dPt>
          <c:cat>
            <c:strRef>
              <c:f>Sheet1!$A$2:$A$215</c:f>
              <c:strCache>
                <c:ptCount val="214"/>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pt idx="22">
                  <c:v>Gillette</c:v>
                </c:pt>
                <c:pt idx="23">
                  <c:v>Harry's</c:v>
                </c:pt>
                <c:pt idx="24">
                  <c:v>Schick</c:v>
                </c:pt>
                <c:pt idx="25">
                  <c:v>Gillette</c:v>
                </c:pt>
                <c:pt idx="26">
                  <c:v>Harry's</c:v>
                </c:pt>
                <c:pt idx="27">
                  <c:v>Gillette</c:v>
                </c:pt>
                <c:pt idx="28">
                  <c:v>Gillette</c:v>
                </c:pt>
                <c:pt idx="29">
                  <c:v>Gillette</c:v>
                </c:pt>
                <c:pt idx="30">
                  <c:v>Gillette</c:v>
                </c:pt>
                <c:pt idx="31">
                  <c:v>Schick</c:v>
                </c:pt>
                <c:pt idx="32">
                  <c:v>Gillette</c:v>
                </c:pt>
                <c:pt idx="33">
                  <c:v>Gillette</c:v>
                </c:pt>
                <c:pt idx="34">
                  <c:v>Schick</c:v>
                </c:pt>
                <c:pt idx="35">
                  <c:v>Bic</c:v>
                </c:pt>
                <c:pt idx="36">
                  <c:v>Gillette</c:v>
                </c:pt>
                <c:pt idx="37">
                  <c:v>Gillette</c:v>
                </c:pt>
                <c:pt idx="38">
                  <c:v>Bic</c:v>
                </c:pt>
                <c:pt idx="39">
                  <c:v>Gillette</c:v>
                </c:pt>
                <c:pt idx="40">
                  <c:v>Equate</c:v>
                </c:pt>
                <c:pt idx="41">
                  <c:v>Gillette</c:v>
                </c:pt>
                <c:pt idx="42">
                  <c:v>Gillette</c:v>
                </c:pt>
                <c:pt idx="43">
                  <c:v>Harry's</c:v>
                </c:pt>
                <c:pt idx="44">
                  <c:v>Schick</c:v>
                </c:pt>
                <c:pt idx="45">
                  <c:v>Schick</c:v>
                </c:pt>
                <c:pt idx="46">
                  <c:v>Equate</c:v>
                </c:pt>
                <c:pt idx="47">
                  <c:v>Bic</c:v>
                </c:pt>
                <c:pt idx="48">
                  <c:v>Dollar Shav</c:v>
                </c:pt>
                <c:pt idx="49">
                  <c:v>Gillette</c:v>
                </c:pt>
                <c:pt idx="50">
                  <c:v>Bic</c:v>
                </c:pt>
                <c:pt idx="51">
                  <c:v>Gillette</c:v>
                </c:pt>
                <c:pt idx="52">
                  <c:v>Equate</c:v>
                </c:pt>
                <c:pt idx="53">
                  <c:v>Dollar Shav</c:v>
                </c:pt>
                <c:pt idx="54">
                  <c:v>Bic</c:v>
                </c:pt>
                <c:pt idx="55">
                  <c:v>Bic</c:v>
                </c:pt>
                <c:pt idx="56">
                  <c:v>Equate</c:v>
                </c:pt>
                <c:pt idx="57">
                  <c:v>Schick</c:v>
                </c:pt>
                <c:pt idx="58">
                  <c:v>Gillette</c:v>
                </c:pt>
                <c:pt idx="59">
                  <c:v>Equate</c:v>
                </c:pt>
                <c:pt idx="60">
                  <c:v>Bic</c:v>
                </c:pt>
                <c:pt idx="61">
                  <c:v>Bic</c:v>
                </c:pt>
                <c:pt idx="62">
                  <c:v>Bic</c:v>
                </c:pt>
                <c:pt idx="63">
                  <c:v>Gillette</c:v>
                </c:pt>
                <c:pt idx="64">
                  <c:v>Comfort 3</c:v>
                </c:pt>
                <c:pt idx="65">
                  <c:v>Van Der Hag</c:v>
                </c:pt>
                <c:pt idx="66">
                  <c:v>Van Der Hag</c:v>
                </c:pt>
                <c:pt idx="67">
                  <c:v>Dollar Shav</c:v>
                </c:pt>
                <c:pt idx="68">
                  <c:v>Comfort 3</c:v>
                </c:pt>
                <c:pt idx="69">
                  <c:v>Schick</c:v>
                </c:pt>
                <c:pt idx="70">
                  <c:v>Gillette</c:v>
                </c:pt>
                <c:pt idx="71">
                  <c:v>Gillette</c:v>
                </c:pt>
                <c:pt idx="72">
                  <c:v>Gillette</c:v>
                </c:pt>
                <c:pt idx="73">
                  <c:v>Equate</c:v>
                </c:pt>
                <c:pt idx="74">
                  <c:v>Equate</c:v>
                </c:pt>
                <c:pt idx="75">
                  <c:v>Bic</c:v>
                </c:pt>
                <c:pt idx="76">
                  <c:v>Gillette</c:v>
                </c:pt>
                <c:pt idx="77">
                  <c:v>Bic</c:v>
                </c:pt>
                <c:pt idx="78">
                  <c:v>Gillette</c:v>
                </c:pt>
                <c:pt idx="79">
                  <c:v>Equate</c:v>
                </c:pt>
                <c:pt idx="80">
                  <c:v>Bic</c:v>
                </c:pt>
                <c:pt idx="81">
                  <c:v>Gillette</c:v>
                </c:pt>
                <c:pt idx="82">
                  <c:v>Gillette</c:v>
                </c:pt>
                <c:pt idx="83">
                  <c:v>Gillette</c:v>
                </c:pt>
                <c:pt idx="84">
                  <c:v>Gillette</c:v>
                </c:pt>
                <c:pt idx="85">
                  <c:v>Bic</c:v>
                </c:pt>
                <c:pt idx="86">
                  <c:v>Harry's</c:v>
                </c:pt>
                <c:pt idx="87">
                  <c:v>Gillette</c:v>
                </c:pt>
                <c:pt idx="88">
                  <c:v>Gillette</c:v>
                </c:pt>
                <c:pt idx="89">
                  <c:v>Gillette</c:v>
                </c:pt>
                <c:pt idx="90">
                  <c:v>Gillette</c:v>
                </c:pt>
                <c:pt idx="91">
                  <c:v>Gillette</c:v>
                </c:pt>
                <c:pt idx="92">
                  <c:v>Gillette</c:v>
                </c:pt>
                <c:pt idx="93">
                  <c:v>Bic</c:v>
                </c:pt>
                <c:pt idx="94">
                  <c:v>Equate</c:v>
                </c:pt>
                <c:pt idx="95">
                  <c:v>Harry's</c:v>
                </c:pt>
                <c:pt idx="96">
                  <c:v>Gillette</c:v>
                </c:pt>
                <c:pt idx="97">
                  <c:v>Schick</c:v>
                </c:pt>
                <c:pt idx="98">
                  <c:v>Harry's</c:v>
                </c:pt>
                <c:pt idx="99">
                  <c:v>Bic</c:v>
                </c:pt>
                <c:pt idx="100">
                  <c:v>Schick</c:v>
                </c:pt>
                <c:pt idx="101">
                  <c:v>Schick</c:v>
                </c:pt>
                <c:pt idx="102">
                  <c:v>Gillette</c:v>
                </c:pt>
                <c:pt idx="103">
                  <c:v>Gillette</c:v>
                </c:pt>
                <c:pt idx="104">
                  <c:v>Gillette</c:v>
                </c:pt>
                <c:pt idx="105">
                  <c:v>Gillette</c:v>
                </c:pt>
                <c:pt idx="106">
                  <c:v>Bic</c:v>
                </c:pt>
                <c:pt idx="107">
                  <c:v>Bic</c:v>
                </c:pt>
                <c:pt idx="108">
                  <c:v>Dollar Shav</c:v>
                </c:pt>
                <c:pt idx="109">
                  <c:v>Bic</c:v>
                </c:pt>
                <c:pt idx="110">
                  <c:v>Gillette</c:v>
                </c:pt>
                <c:pt idx="111">
                  <c:v>Gillette</c:v>
                </c:pt>
                <c:pt idx="112">
                  <c:v>Gillette</c:v>
                </c:pt>
                <c:pt idx="113">
                  <c:v>Harry's</c:v>
                </c:pt>
                <c:pt idx="114">
                  <c:v>Harry's</c:v>
                </c:pt>
                <c:pt idx="115">
                  <c:v>Gillette</c:v>
                </c:pt>
                <c:pt idx="116">
                  <c:v>Gillette</c:v>
                </c:pt>
                <c:pt idx="117">
                  <c:v>Gillette</c:v>
                </c:pt>
                <c:pt idx="118">
                  <c:v>Schick</c:v>
                </c:pt>
                <c:pt idx="119">
                  <c:v>Schick</c:v>
                </c:pt>
                <c:pt idx="120">
                  <c:v>Schick</c:v>
                </c:pt>
                <c:pt idx="121">
                  <c:v>Gillette</c:v>
                </c:pt>
                <c:pt idx="122">
                  <c:v>Bic</c:v>
                </c:pt>
                <c:pt idx="123">
                  <c:v>Schick</c:v>
                </c:pt>
                <c:pt idx="124">
                  <c:v>Gillette</c:v>
                </c:pt>
                <c:pt idx="125">
                  <c:v>Cremo</c:v>
                </c:pt>
                <c:pt idx="126">
                  <c:v>Bic</c:v>
                </c:pt>
                <c:pt idx="127">
                  <c:v>Bic</c:v>
                </c:pt>
                <c:pt idx="128">
                  <c:v>Cremo</c:v>
                </c:pt>
                <c:pt idx="129">
                  <c:v>Bic</c:v>
                </c:pt>
                <c:pt idx="130">
                  <c:v>Harry's</c:v>
                </c:pt>
                <c:pt idx="131">
                  <c:v>Comfort 3</c:v>
                </c:pt>
                <c:pt idx="132">
                  <c:v>Schick</c:v>
                </c:pt>
                <c:pt idx="133">
                  <c:v>Dollar Shav</c:v>
                </c:pt>
                <c:pt idx="134">
                  <c:v>Gillette</c:v>
                </c:pt>
                <c:pt idx="135">
                  <c:v>Bic</c:v>
                </c:pt>
                <c:pt idx="136">
                  <c:v>Harry's</c:v>
                </c:pt>
                <c:pt idx="137">
                  <c:v>Bic</c:v>
                </c:pt>
                <c:pt idx="138">
                  <c:v>Van Der Hag</c:v>
                </c:pt>
                <c:pt idx="139">
                  <c:v>Schick</c:v>
                </c:pt>
                <c:pt idx="140">
                  <c:v>Bic</c:v>
                </c:pt>
                <c:pt idx="141">
                  <c:v>Schick</c:v>
                </c:pt>
                <c:pt idx="142">
                  <c:v>Dollar Shav</c:v>
                </c:pt>
                <c:pt idx="143">
                  <c:v>Gillette</c:v>
                </c:pt>
                <c:pt idx="144">
                  <c:v>Gillette</c:v>
                </c:pt>
                <c:pt idx="145">
                  <c:v>Dollar Shav</c:v>
                </c:pt>
                <c:pt idx="146">
                  <c:v>Gillette</c:v>
                </c:pt>
                <c:pt idx="147">
                  <c:v>Gillette</c:v>
                </c:pt>
                <c:pt idx="148">
                  <c:v>Gillette</c:v>
                </c:pt>
                <c:pt idx="149">
                  <c:v>Gillette</c:v>
                </c:pt>
                <c:pt idx="150">
                  <c:v>Equate</c:v>
                </c:pt>
                <c:pt idx="151">
                  <c:v>Dollar Shav</c:v>
                </c:pt>
                <c:pt idx="152">
                  <c:v>Van Der Hag</c:v>
                </c:pt>
                <c:pt idx="153">
                  <c:v>Gillette</c:v>
                </c:pt>
                <c:pt idx="154">
                  <c:v>Cremo</c:v>
                </c:pt>
                <c:pt idx="155">
                  <c:v>Schick</c:v>
                </c:pt>
                <c:pt idx="156">
                  <c:v>Gillette</c:v>
                </c:pt>
                <c:pt idx="157">
                  <c:v>Schick</c:v>
                </c:pt>
                <c:pt idx="158">
                  <c:v>Schick</c:v>
                </c:pt>
                <c:pt idx="159">
                  <c:v>Comfort 3</c:v>
                </c:pt>
                <c:pt idx="160">
                  <c:v>Schick</c:v>
                </c:pt>
                <c:pt idx="161">
                  <c:v>Harry's</c:v>
                </c:pt>
                <c:pt idx="162">
                  <c:v>Equate</c:v>
                </c:pt>
                <c:pt idx="163">
                  <c:v>Schick</c:v>
                </c:pt>
                <c:pt idx="164">
                  <c:v>Gillette</c:v>
                </c:pt>
                <c:pt idx="165">
                  <c:v>Gillette</c:v>
                </c:pt>
                <c:pt idx="166">
                  <c:v>Gillette</c:v>
                </c:pt>
                <c:pt idx="167">
                  <c:v>Gillette</c:v>
                </c:pt>
                <c:pt idx="168">
                  <c:v>Schick</c:v>
                </c:pt>
                <c:pt idx="169">
                  <c:v>All Others</c:v>
                </c:pt>
                <c:pt idx="170">
                  <c:v>Dollar Shav</c:v>
                </c:pt>
                <c:pt idx="171">
                  <c:v>Gillette</c:v>
                </c:pt>
                <c:pt idx="172">
                  <c:v>Gillette</c:v>
                </c:pt>
                <c:pt idx="173">
                  <c:v>Equate</c:v>
                </c:pt>
                <c:pt idx="174">
                  <c:v>Gillette</c:v>
                </c:pt>
                <c:pt idx="175">
                  <c:v>Gillette</c:v>
                </c:pt>
                <c:pt idx="176">
                  <c:v>Gillette</c:v>
                </c:pt>
                <c:pt idx="177">
                  <c:v>Gillette</c:v>
                </c:pt>
                <c:pt idx="178">
                  <c:v>Bic</c:v>
                </c:pt>
                <c:pt idx="179">
                  <c:v>Schick</c:v>
                </c:pt>
                <c:pt idx="180">
                  <c:v>All Others</c:v>
                </c:pt>
                <c:pt idx="181">
                  <c:v>Schick</c:v>
                </c:pt>
                <c:pt idx="182">
                  <c:v>Schick</c:v>
                </c:pt>
                <c:pt idx="183">
                  <c:v>Cremo</c:v>
                </c:pt>
                <c:pt idx="184">
                  <c:v>Bic</c:v>
                </c:pt>
                <c:pt idx="185">
                  <c:v>Schick</c:v>
                </c:pt>
                <c:pt idx="186">
                  <c:v>Harry's</c:v>
                </c:pt>
                <c:pt idx="187">
                  <c:v>Schick</c:v>
                </c:pt>
                <c:pt idx="188">
                  <c:v>Bic</c:v>
                </c:pt>
                <c:pt idx="189">
                  <c:v>Schick</c:v>
                </c:pt>
                <c:pt idx="190">
                  <c:v>Gillette</c:v>
                </c:pt>
                <c:pt idx="191">
                  <c:v>Bic</c:v>
                </c:pt>
                <c:pt idx="192">
                  <c:v>Schick</c:v>
                </c:pt>
                <c:pt idx="193">
                  <c:v>Bic</c:v>
                </c:pt>
                <c:pt idx="194">
                  <c:v>Harry's</c:v>
                </c:pt>
                <c:pt idx="195">
                  <c:v>Bic</c:v>
                </c:pt>
                <c:pt idx="196">
                  <c:v>Gillette</c:v>
                </c:pt>
                <c:pt idx="197">
                  <c:v>Gillette</c:v>
                </c:pt>
                <c:pt idx="198">
                  <c:v>Schick</c:v>
                </c:pt>
                <c:pt idx="199">
                  <c:v>Gillette</c:v>
                </c:pt>
                <c:pt idx="200">
                  <c:v>Schick</c:v>
                </c:pt>
                <c:pt idx="201">
                  <c:v>Equate</c:v>
                </c:pt>
                <c:pt idx="202">
                  <c:v>Dollar Shav</c:v>
                </c:pt>
                <c:pt idx="203">
                  <c:v>Schick</c:v>
                </c:pt>
                <c:pt idx="204">
                  <c:v>Edgewell Pe</c:v>
                </c:pt>
                <c:pt idx="205">
                  <c:v>Bic</c:v>
                </c:pt>
                <c:pt idx="206">
                  <c:v>Schick</c:v>
                </c:pt>
                <c:pt idx="207">
                  <c:v>Gillette</c:v>
                </c:pt>
                <c:pt idx="208">
                  <c:v>Gillette</c:v>
                </c:pt>
                <c:pt idx="209">
                  <c:v>Schick</c:v>
                </c:pt>
                <c:pt idx="210">
                  <c:v>Bic</c:v>
                </c:pt>
                <c:pt idx="211">
                  <c:v>Equate</c:v>
                </c:pt>
                <c:pt idx="212">
                  <c:v>Schick</c:v>
                </c:pt>
                <c:pt idx="213">
                  <c:v>Gillette</c:v>
                </c:pt>
              </c:strCache>
            </c:strRef>
          </c:cat>
          <c:val>
            <c:numRef>
              <c:f>Sheet1!$C$2:$C$215</c:f>
              <c:numCache>
                <c:formatCode>General</c:formatCode>
                <c:ptCount val="214"/>
                <c:pt idx="0">
                  <c:v>5.3648963777222558E-2</c:v>
                </c:pt>
                <c:pt idx="1">
                  <c:v>9.4734225668362509E-2</c:v>
                </c:pt>
                <c:pt idx="2">
                  <c:v>0.12766184673401992</c:v>
                </c:pt>
                <c:pt idx="3">
                  <c:v>0.1588765927617051</c:v>
                </c:pt>
                <c:pt idx="4">
                  <c:v>0.18911038778213141</c:v>
                </c:pt>
                <c:pt idx="5">
                  <c:v>0.21708926680348797</c:v>
                </c:pt>
                <c:pt idx="6">
                  <c:v>0.24176312728542615</c:v>
                </c:pt>
                <c:pt idx="7">
                  <c:v>0.26513480359713648</c:v>
                </c:pt>
                <c:pt idx="8">
                  <c:v>0.288306211017896</c:v>
                </c:pt>
                <c:pt idx="9">
                  <c:v>0.31118643724610373</c:v>
                </c:pt>
                <c:pt idx="10">
                  <c:v>0.33212896595097202</c:v>
                </c:pt>
                <c:pt idx="11">
                  <c:v>0.35170856652217475</c:v>
                </c:pt>
                <c:pt idx="12">
                  <c:v>0.37067243625709428</c:v>
                </c:pt>
                <c:pt idx="13">
                  <c:v>0.38832379418432406</c:v>
                </c:pt>
                <c:pt idx="14">
                  <c:v>0.40569627680814674</c:v>
                </c:pt>
                <c:pt idx="15">
                  <c:v>0.42220179063196583</c:v>
                </c:pt>
                <c:pt idx="16">
                  <c:v>0.436844024106044</c:v>
                </c:pt>
                <c:pt idx="17">
                  <c:v>0.45075430445747228</c:v>
                </c:pt>
                <c:pt idx="18">
                  <c:v>0.46461809589435388</c:v>
                </c:pt>
                <c:pt idx="19">
                  <c:v>0.47776177462674607</c:v>
                </c:pt>
                <c:pt idx="20">
                  <c:v>0.49083947284712831</c:v>
                </c:pt>
                <c:pt idx="21">
                  <c:v>0.50385130692324664</c:v>
                </c:pt>
                <c:pt idx="22">
                  <c:v>0.51665935198409618</c:v>
                </c:pt>
                <c:pt idx="23">
                  <c:v>0.52909458387854036</c:v>
                </c:pt>
                <c:pt idx="24">
                  <c:v>0.54105043884313464</c:v>
                </c:pt>
                <c:pt idx="25">
                  <c:v>0.55284832459246702</c:v>
                </c:pt>
                <c:pt idx="26">
                  <c:v>0.56450179796895228</c:v>
                </c:pt>
                <c:pt idx="27">
                  <c:v>0.57587764699530042</c:v>
                </c:pt>
                <c:pt idx="28">
                  <c:v>0.58692272070350349</c:v>
                </c:pt>
                <c:pt idx="29">
                  <c:v>0.59772700045319416</c:v>
                </c:pt>
                <c:pt idx="30">
                  <c:v>0.60827596936805273</c:v>
                </c:pt>
                <c:pt idx="31">
                  <c:v>0.61875610676112314</c:v>
                </c:pt>
                <c:pt idx="32">
                  <c:v>0.62916188516446803</c:v>
                </c:pt>
                <c:pt idx="33">
                  <c:v>0.63956344523701869</c:v>
                </c:pt>
                <c:pt idx="34">
                  <c:v>0.64955070704169737</c:v>
                </c:pt>
                <c:pt idx="35">
                  <c:v>0.6593558824157455</c:v>
                </c:pt>
                <c:pt idx="36">
                  <c:v>0.66899372097097476</c:v>
                </c:pt>
                <c:pt idx="37">
                  <c:v>0.67842166120426761</c:v>
                </c:pt>
                <c:pt idx="38">
                  <c:v>0.68784564493419487</c:v>
                </c:pt>
                <c:pt idx="39">
                  <c:v>0.69694932644312146</c:v>
                </c:pt>
                <c:pt idx="40">
                  <c:v>0.7060156539055662</c:v>
                </c:pt>
                <c:pt idx="41">
                  <c:v>0.71483100523171916</c:v>
                </c:pt>
                <c:pt idx="42">
                  <c:v>0.72355320417715974</c:v>
                </c:pt>
                <c:pt idx="43">
                  <c:v>0.73194378413829642</c:v>
                </c:pt>
                <c:pt idx="44">
                  <c:v>0.74032584016203495</c:v>
                </c:pt>
                <c:pt idx="45">
                  <c:v>0.74862021308912541</c:v>
                </c:pt>
                <c:pt idx="46">
                  <c:v>0.75688165394408391</c:v>
                </c:pt>
                <c:pt idx="47">
                  <c:v>0.764838764051187</c:v>
                </c:pt>
                <c:pt idx="48">
                  <c:v>0.77272273702989813</c:v>
                </c:pt>
                <c:pt idx="49">
                  <c:v>0.7804800146250982</c:v>
                </c:pt>
                <c:pt idx="50">
                  <c:v>0.78820465106753135</c:v>
                </c:pt>
                <c:pt idx="51">
                  <c:v>0.7957817622999106</c:v>
                </c:pt>
                <c:pt idx="52">
                  <c:v>0.80325478258344873</c:v>
                </c:pt>
                <c:pt idx="53">
                  <c:v>0.81033721452737251</c:v>
                </c:pt>
                <c:pt idx="54">
                  <c:v>0.81736038619662066</c:v>
                </c:pt>
                <c:pt idx="55">
                  <c:v>0.82425113137086481</c:v>
                </c:pt>
                <c:pt idx="56">
                  <c:v>0.83113547631907625</c:v>
                </c:pt>
                <c:pt idx="57">
                  <c:v>0.83780852653239868</c:v>
                </c:pt>
                <c:pt idx="58">
                  <c:v>0.84431933101579193</c:v>
                </c:pt>
                <c:pt idx="59">
                  <c:v>0.85082798269588322</c:v>
                </c:pt>
                <c:pt idx="60">
                  <c:v>0.85724098008872207</c:v>
                </c:pt>
                <c:pt idx="61">
                  <c:v>0.86349856835671213</c:v>
                </c:pt>
                <c:pt idx="62">
                  <c:v>0.86937598319835918</c:v>
                </c:pt>
                <c:pt idx="63">
                  <c:v>0.87524798693981498</c:v>
                </c:pt>
                <c:pt idx="64">
                  <c:v>0.88109657167237831</c:v>
                </c:pt>
                <c:pt idx="65">
                  <c:v>0.88631691603595819</c:v>
                </c:pt>
                <c:pt idx="66">
                  <c:v>0.89144995549806461</c:v>
                </c:pt>
                <c:pt idx="67">
                  <c:v>0.89642991319024312</c:v>
                </c:pt>
                <c:pt idx="68">
                  <c:v>0.90121914414664694</c:v>
                </c:pt>
                <c:pt idx="69">
                  <c:v>0.90597678125999836</c:v>
                </c:pt>
                <c:pt idx="70">
                  <c:v>0.91070096264636069</c:v>
                </c:pt>
                <c:pt idx="71">
                  <c:v>0.91535639978674432</c:v>
                </c:pt>
                <c:pt idx="72">
                  <c:v>0.91989174541320518</c:v>
                </c:pt>
                <c:pt idx="73">
                  <c:v>0.92435671764524274</c:v>
                </c:pt>
                <c:pt idx="74">
                  <c:v>0.92848000508294304</c:v>
                </c:pt>
                <c:pt idx="75">
                  <c:v>0.93225029096300294</c:v>
                </c:pt>
                <c:pt idx="76">
                  <c:v>0.93597824807543739</c:v>
                </c:pt>
                <c:pt idx="77">
                  <c:v>0.93967062574951732</c:v>
                </c:pt>
                <c:pt idx="78">
                  <c:v>0.94330682689419187</c:v>
                </c:pt>
                <c:pt idx="79">
                  <c:v>0.94688743334819148</c:v>
                </c:pt>
                <c:pt idx="80">
                  <c:v>0.9504220745425016</c:v>
                </c:pt>
                <c:pt idx="81">
                  <c:v>0.95333702839716283</c:v>
                </c:pt>
                <c:pt idx="82">
                  <c:v>0.95608132895224285</c:v>
                </c:pt>
                <c:pt idx="83">
                  <c:v>0.95877867512179193</c:v>
                </c:pt>
                <c:pt idx="84">
                  <c:v>0.96108799304213977</c:v>
                </c:pt>
                <c:pt idx="85">
                  <c:v>0.96331532988539581</c:v>
                </c:pt>
                <c:pt idx="86">
                  <c:v>0.9655338809638252</c:v>
                </c:pt>
                <c:pt idx="87">
                  <c:v>0.96772139094599596</c:v>
                </c:pt>
                <c:pt idx="88">
                  <c:v>0.96981315936510459</c:v>
                </c:pt>
                <c:pt idx="89">
                  <c:v>0.97166960310976513</c:v>
                </c:pt>
                <c:pt idx="90">
                  <c:v>0.97334154579306453</c:v>
                </c:pt>
                <c:pt idx="91">
                  <c:v>0.97499658606125028</c:v>
                </c:pt>
                <c:pt idx="92">
                  <c:v>0.97653127298808462</c:v>
                </c:pt>
                <c:pt idx="93">
                  <c:v>0.97802822767326247</c:v>
                </c:pt>
                <c:pt idx="94">
                  <c:v>0.97948046805202083</c:v>
                </c:pt>
                <c:pt idx="95">
                  <c:v>0.98086696065426138</c:v>
                </c:pt>
                <c:pt idx="96">
                  <c:v>0.98225275505002563</c:v>
                </c:pt>
                <c:pt idx="97">
                  <c:v>0.98348945327116422</c:v>
                </c:pt>
                <c:pt idx="98">
                  <c:v>0.98464163941673455</c:v>
                </c:pt>
                <c:pt idx="99">
                  <c:v>0.98571455003530883</c:v>
                </c:pt>
                <c:pt idx="100">
                  <c:v>0.98678449327635887</c:v>
                </c:pt>
                <c:pt idx="101">
                  <c:v>0.98784250882343883</c:v>
                </c:pt>
                <c:pt idx="102">
                  <c:v>0.98889895340594713</c:v>
                </c:pt>
                <c:pt idx="103">
                  <c:v>0.98993386995543631</c:v>
                </c:pt>
                <c:pt idx="104">
                  <c:v>0.99095418235279631</c:v>
                </c:pt>
                <c:pt idx="105">
                  <c:v>0.99195802871409033</c:v>
                </c:pt>
                <c:pt idx="106">
                  <c:v>0.99280314946977322</c:v>
                </c:pt>
                <c:pt idx="107">
                  <c:v>0.99363008776513584</c:v>
                </c:pt>
                <c:pt idx="108">
                  <c:v>0.99441795558976243</c:v>
                </c:pt>
                <c:pt idx="109">
                  <c:v>0.9950729314484007</c:v>
                </c:pt>
                <c:pt idx="110">
                  <c:v>0.99567929468112693</c:v>
                </c:pt>
                <c:pt idx="111">
                  <c:v>0.99625394770305475</c:v>
                </c:pt>
                <c:pt idx="112">
                  <c:v>0.99681868037463184</c:v>
                </c:pt>
                <c:pt idx="113">
                  <c:v>0.99734370255286964</c:v>
                </c:pt>
                <c:pt idx="114">
                  <c:v>0.99782121759878284</c:v>
                </c:pt>
                <c:pt idx="115">
                  <c:v>0.99825174916722859</c:v>
                </c:pt>
                <c:pt idx="116">
                  <c:v>0.99859413216804205</c:v>
                </c:pt>
                <c:pt idx="117">
                  <c:v>0.99880027763016832</c:v>
                </c:pt>
                <c:pt idx="118">
                  <c:v>0.99894562094498385</c:v>
                </c:pt>
                <c:pt idx="119">
                  <c:v>0.99907301453497133</c:v>
                </c:pt>
                <c:pt idx="120">
                  <c:v>0.9991958697828629</c:v>
                </c:pt>
                <c:pt idx="121">
                  <c:v>0.99930243354630754</c:v>
                </c:pt>
                <c:pt idx="122">
                  <c:v>0.99940847365489494</c:v>
                </c:pt>
                <c:pt idx="123">
                  <c:v>0.99951017906494199</c:v>
                </c:pt>
                <c:pt idx="124">
                  <c:v>0.99958325800946091</c:v>
                </c:pt>
                <c:pt idx="125">
                  <c:v>0.99965200225543949</c:v>
                </c:pt>
                <c:pt idx="126">
                  <c:v>0.99971911735297336</c:v>
                </c:pt>
                <c:pt idx="127">
                  <c:v>0.99976260979805931</c:v>
                </c:pt>
                <c:pt idx="128">
                  <c:v>0.99979757830574711</c:v>
                </c:pt>
                <c:pt idx="129">
                  <c:v>0.99983068492949811</c:v>
                </c:pt>
                <c:pt idx="130">
                  <c:v>0.99984590001229401</c:v>
                </c:pt>
                <c:pt idx="131">
                  <c:v>0.99986062053216929</c:v>
                </c:pt>
                <c:pt idx="132">
                  <c:v>0.99987359553585375</c:v>
                </c:pt>
                <c:pt idx="133">
                  <c:v>0.99988555232176035</c:v>
                </c:pt>
                <c:pt idx="134">
                  <c:v>0.99989599632696824</c:v>
                </c:pt>
                <c:pt idx="135">
                  <c:v>0.99990562575795383</c:v>
                </c:pt>
                <c:pt idx="136">
                  <c:v>0.9999146442582727</c:v>
                </c:pt>
                <c:pt idx="137">
                  <c:v>0.99992241180532149</c:v>
                </c:pt>
                <c:pt idx="138">
                  <c:v>0.99992936477814798</c:v>
                </c:pt>
                <c:pt idx="139">
                  <c:v>0.99993553226868859</c:v>
                </c:pt>
                <c:pt idx="140">
                  <c:v>0.99994155429954668</c:v>
                </c:pt>
                <c:pt idx="141">
                  <c:v>0.99994667448037289</c:v>
                </c:pt>
                <c:pt idx="142">
                  <c:v>0.99995159101764342</c:v>
                </c:pt>
                <c:pt idx="143">
                  <c:v>0.99995554752100912</c:v>
                </c:pt>
                <c:pt idx="144">
                  <c:v>0.99995941674856526</c:v>
                </c:pt>
                <c:pt idx="145">
                  <c:v>0.99996261686158161</c:v>
                </c:pt>
                <c:pt idx="146">
                  <c:v>0.99996465329713746</c:v>
                </c:pt>
                <c:pt idx="147">
                  <c:v>0.99996657336494732</c:v>
                </c:pt>
                <c:pt idx="148">
                  <c:v>0.99996843524888412</c:v>
                </c:pt>
                <c:pt idx="149">
                  <c:v>0.99997012258120188</c:v>
                </c:pt>
                <c:pt idx="150">
                  <c:v>0.99997175172964659</c:v>
                </c:pt>
                <c:pt idx="151">
                  <c:v>0.99997332269421824</c:v>
                </c:pt>
                <c:pt idx="152">
                  <c:v>0.99997474819910737</c:v>
                </c:pt>
                <c:pt idx="153">
                  <c:v>0.99997602824431386</c:v>
                </c:pt>
                <c:pt idx="154">
                  <c:v>0.99997725010564742</c:v>
                </c:pt>
                <c:pt idx="155">
                  <c:v>0.99997844287504445</c:v>
                </c:pt>
                <c:pt idx="156">
                  <c:v>0.99997946109282243</c:v>
                </c:pt>
                <c:pt idx="157">
                  <c:v>0.99998042112672736</c:v>
                </c:pt>
                <c:pt idx="158">
                  <c:v>0.99998138116063229</c:v>
                </c:pt>
                <c:pt idx="159">
                  <c:v>0.99998225391872764</c:v>
                </c:pt>
                <c:pt idx="160">
                  <c:v>0.99998303940101352</c:v>
                </c:pt>
                <c:pt idx="161">
                  <c:v>0.99998379579136287</c:v>
                </c:pt>
                <c:pt idx="162">
                  <c:v>0.9999845230897757</c:v>
                </c:pt>
                <c:pt idx="163">
                  <c:v>0.99998519220431548</c:v>
                </c:pt>
                <c:pt idx="164">
                  <c:v>0.99998586131885525</c:v>
                </c:pt>
                <c:pt idx="165">
                  <c:v>0.9999865013414585</c:v>
                </c:pt>
                <c:pt idx="166">
                  <c:v>0.9999870831801887</c:v>
                </c:pt>
                <c:pt idx="167">
                  <c:v>0.99998766501891889</c:v>
                </c:pt>
                <c:pt idx="168">
                  <c:v>0.99998821776571267</c:v>
                </c:pt>
                <c:pt idx="169">
                  <c:v>0.99998877051250645</c:v>
                </c:pt>
                <c:pt idx="170">
                  <c:v>0.99998920689155413</c:v>
                </c:pt>
                <c:pt idx="171">
                  <c:v>0.9999896432706018</c:v>
                </c:pt>
                <c:pt idx="172">
                  <c:v>0.99999007964964948</c:v>
                </c:pt>
                <c:pt idx="173">
                  <c:v>0.99999051602869715</c:v>
                </c:pt>
                <c:pt idx="174">
                  <c:v>0.99999095240774483</c:v>
                </c:pt>
                <c:pt idx="175">
                  <c:v>0.99999135969485597</c:v>
                </c:pt>
                <c:pt idx="176">
                  <c:v>0.99999176698196712</c:v>
                </c:pt>
                <c:pt idx="177">
                  <c:v>0.99999217426907827</c:v>
                </c:pt>
                <c:pt idx="178">
                  <c:v>0.99999258155618942</c:v>
                </c:pt>
                <c:pt idx="179">
                  <c:v>0.99999295975136404</c:v>
                </c:pt>
                <c:pt idx="180">
                  <c:v>0.99999333794653866</c:v>
                </c:pt>
                <c:pt idx="181">
                  <c:v>0.99999368704977676</c:v>
                </c:pt>
                <c:pt idx="182">
                  <c:v>0.99999403615301485</c:v>
                </c:pt>
                <c:pt idx="183">
                  <c:v>0.99999438525625295</c:v>
                </c:pt>
                <c:pt idx="184">
                  <c:v>0.99999470526755463</c:v>
                </c:pt>
                <c:pt idx="185">
                  <c:v>0.99999502527885631</c:v>
                </c:pt>
                <c:pt idx="186">
                  <c:v>0.99999534529015799</c:v>
                </c:pt>
                <c:pt idx="187">
                  <c:v>0.99999566530145967</c:v>
                </c:pt>
                <c:pt idx="188">
                  <c:v>0.9999959271288883</c:v>
                </c:pt>
                <c:pt idx="189">
                  <c:v>0.99999618895631692</c:v>
                </c:pt>
                <c:pt idx="190">
                  <c:v>0.99999645078374555</c:v>
                </c:pt>
                <c:pt idx="191">
                  <c:v>0.99999671261117418</c:v>
                </c:pt>
                <c:pt idx="192">
                  <c:v>0.9999969744386028</c:v>
                </c:pt>
                <c:pt idx="193">
                  <c:v>0.99999723626603143</c:v>
                </c:pt>
                <c:pt idx="194">
                  <c:v>0.99999746900152353</c:v>
                </c:pt>
                <c:pt idx="195">
                  <c:v>0.99999770173701563</c:v>
                </c:pt>
                <c:pt idx="196">
                  <c:v>0.99999793447250773</c:v>
                </c:pt>
                <c:pt idx="197">
                  <c:v>0.99999813811606331</c:v>
                </c:pt>
                <c:pt idx="198">
                  <c:v>0.99999834175961888</c:v>
                </c:pt>
                <c:pt idx="199">
                  <c:v>0.99999854540317445</c:v>
                </c:pt>
                <c:pt idx="200">
                  <c:v>0.99999874904673003</c:v>
                </c:pt>
                <c:pt idx="201">
                  <c:v>0.99999892359834908</c:v>
                </c:pt>
                <c:pt idx="202">
                  <c:v>0.99999909814996812</c:v>
                </c:pt>
                <c:pt idx="203">
                  <c:v>0.99999927270158717</c:v>
                </c:pt>
                <c:pt idx="204">
                  <c:v>0.99999938906933317</c:v>
                </c:pt>
                <c:pt idx="205">
                  <c:v>0.99999950543707916</c:v>
                </c:pt>
                <c:pt idx="206">
                  <c:v>0.99999959271288874</c:v>
                </c:pt>
                <c:pt idx="207">
                  <c:v>0.99999967998869832</c:v>
                </c:pt>
                <c:pt idx="208">
                  <c:v>0.99999973817257137</c:v>
                </c:pt>
                <c:pt idx="209">
                  <c:v>0.99999979635644443</c:v>
                </c:pt>
                <c:pt idx="210">
                  <c:v>0.99999985454031748</c:v>
                </c:pt>
                <c:pt idx="211">
                  <c:v>0.99999991272419053</c:v>
                </c:pt>
                <c:pt idx="212">
                  <c:v>0.99999997090806358</c:v>
                </c:pt>
                <c:pt idx="21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37</c:f>
              <c:strCache>
                <c:ptCount val="336"/>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Gillette</c:v>
                </c:pt>
                <c:pt idx="26">
                  <c:v>Bic</c:v>
                </c:pt>
                <c:pt idx="27">
                  <c:v>Gillette</c:v>
                </c:pt>
                <c:pt idx="28">
                  <c:v>Schick</c:v>
                </c:pt>
                <c:pt idx="29">
                  <c:v>Gillette</c:v>
                </c:pt>
                <c:pt idx="30">
                  <c:v>Gillette</c:v>
                </c:pt>
                <c:pt idx="31">
                  <c:v>Bic</c:v>
                </c:pt>
                <c:pt idx="32">
                  <c:v>Schick</c:v>
                </c:pt>
                <c:pt idx="33">
                  <c:v>Dollar Shav</c:v>
                </c:pt>
                <c:pt idx="34">
                  <c:v>Gillette</c:v>
                </c:pt>
                <c:pt idx="35">
                  <c:v>Dollar Shav</c:v>
                </c:pt>
                <c:pt idx="36">
                  <c:v>Equate</c:v>
                </c:pt>
                <c:pt idx="37">
                  <c:v>Gillette</c:v>
                </c:pt>
                <c:pt idx="38">
                  <c:v>Schick</c:v>
                </c:pt>
                <c:pt idx="39">
                  <c:v>Bic</c:v>
                </c:pt>
                <c:pt idx="40">
                  <c:v>Gillette</c:v>
                </c:pt>
                <c:pt idx="41">
                  <c:v>Schick</c:v>
                </c:pt>
                <c:pt idx="42">
                  <c:v>Harry's</c:v>
                </c:pt>
                <c:pt idx="43">
                  <c:v>Schick</c:v>
                </c:pt>
                <c:pt idx="44">
                  <c:v>Gillette</c:v>
                </c:pt>
                <c:pt idx="45">
                  <c:v>Gillette</c:v>
                </c:pt>
                <c:pt idx="46">
                  <c:v>Gillette</c:v>
                </c:pt>
                <c:pt idx="47">
                  <c:v>Equate</c:v>
                </c:pt>
                <c:pt idx="48">
                  <c:v>Schick</c:v>
                </c:pt>
                <c:pt idx="49">
                  <c:v>Gillette</c:v>
                </c:pt>
                <c:pt idx="50">
                  <c:v>Bic</c:v>
                </c:pt>
                <c:pt idx="51">
                  <c:v>Gillette</c:v>
                </c:pt>
                <c:pt idx="52">
                  <c:v>Equate</c:v>
                </c:pt>
                <c:pt idx="53">
                  <c:v>Bic</c:v>
                </c:pt>
                <c:pt idx="54">
                  <c:v>Equate</c:v>
                </c:pt>
                <c:pt idx="55">
                  <c:v>Van Der Hag</c:v>
                </c:pt>
                <c:pt idx="56">
                  <c:v>Gillette</c:v>
                </c:pt>
                <c:pt idx="57">
                  <c:v>Gillette</c:v>
                </c:pt>
                <c:pt idx="58">
                  <c:v>Bic</c:v>
                </c:pt>
                <c:pt idx="59">
                  <c:v>Bic</c:v>
                </c:pt>
                <c:pt idx="60">
                  <c:v>Equate</c:v>
                </c:pt>
                <c:pt idx="61">
                  <c:v>Dollar Shav</c:v>
                </c:pt>
                <c:pt idx="62">
                  <c:v>Bic</c:v>
                </c:pt>
                <c:pt idx="63">
                  <c:v>Schick</c:v>
                </c:pt>
                <c:pt idx="64">
                  <c:v>Gillette</c:v>
                </c:pt>
                <c:pt idx="65">
                  <c:v>Comfort 3</c:v>
                </c:pt>
                <c:pt idx="66">
                  <c:v>Van Der Hag</c:v>
                </c:pt>
                <c:pt idx="67">
                  <c:v>Bic</c:v>
                </c:pt>
                <c:pt idx="68">
                  <c:v>Gillette</c:v>
                </c:pt>
                <c:pt idx="69">
                  <c:v>Gillette</c:v>
                </c:pt>
                <c:pt idx="70">
                  <c:v>Comfort 3</c:v>
                </c:pt>
                <c:pt idx="71">
                  <c:v>Equate</c:v>
                </c:pt>
                <c:pt idx="72">
                  <c:v>Gillette</c:v>
                </c:pt>
                <c:pt idx="73">
                  <c:v>Equate</c:v>
                </c:pt>
                <c:pt idx="74">
                  <c:v>Gillette</c:v>
                </c:pt>
                <c:pt idx="75">
                  <c:v>Harry's</c:v>
                </c:pt>
                <c:pt idx="76">
                  <c:v>Gillette</c:v>
                </c:pt>
                <c:pt idx="77">
                  <c:v>Gillette</c:v>
                </c:pt>
                <c:pt idx="78">
                  <c:v>Bic</c:v>
                </c:pt>
                <c:pt idx="79">
                  <c:v>Bic</c:v>
                </c:pt>
                <c:pt idx="80">
                  <c:v>Bic</c:v>
                </c:pt>
                <c:pt idx="81">
                  <c:v>Equate</c:v>
                </c:pt>
                <c:pt idx="82">
                  <c:v>Gillette</c:v>
                </c:pt>
                <c:pt idx="83">
                  <c:v>Schick</c:v>
                </c:pt>
                <c:pt idx="84">
                  <c:v>Gillette</c:v>
                </c:pt>
                <c:pt idx="85">
                  <c:v>Bic</c:v>
                </c:pt>
                <c:pt idx="86">
                  <c:v>Gillette</c:v>
                </c:pt>
                <c:pt idx="87">
                  <c:v>Schick</c:v>
                </c:pt>
                <c:pt idx="88">
                  <c:v>Gillette</c:v>
                </c:pt>
                <c:pt idx="89">
                  <c:v>Harry's</c:v>
                </c:pt>
                <c:pt idx="90">
                  <c:v>Bic</c:v>
                </c:pt>
                <c:pt idx="91">
                  <c:v>Gillette</c:v>
                </c:pt>
                <c:pt idx="92">
                  <c:v>Gillette</c:v>
                </c:pt>
                <c:pt idx="93">
                  <c:v>Gillette</c:v>
                </c:pt>
                <c:pt idx="94">
                  <c:v>Bic</c:v>
                </c:pt>
                <c:pt idx="95">
                  <c:v>Gillette</c:v>
                </c:pt>
                <c:pt idx="96">
                  <c:v>Harry's</c:v>
                </c:pt>
                <c:pt idx="97">
                  <c:v>Gillette</c:v>
                </c:pt>
                <c:pt idx="98">
                  <c:v>Gillette</c:v>
                </c:pt>
                <c:pt idx="99">
                  <c:v>Gillette</c:v>
                </c:pt>
                <c:pt idx="100">
                  <c:v>Bic</c:v>
                </c:pt>
                <c:pt idx="101">
                  <c:v>Gillette</c:v>
                </c:pt>
                <c:pt idx="102">
                  <c:v>Bic</c:v>
                </c:pt>
                <c:pt idx="103">
                  <c:v>Equate</c:v>
                </c:pt>
                <c:pt idx="104">
                  <c:v>Gillette</c:v>
                </c:pt>
                <c:pt idx="105">
                  <c:v>Gillette</c:v>
                </c:pt>
                <c:pt idx="106">
                  <c:v>Gillette</c:v>
                </c:pt>
                <c:pt idx="107">
                  <c:v>Schick</c:v>
                </c:pt>
                <c:pt idx="108">
                  <c:v>Schick</c:v>
                </c:pt>
                <c:pt idx="109">
                  <c:v>Bic</c:v>
                </c:pt>
                <c:pt idx="110">
                  <c:v>Gillette</c:v>
                </c:pt>
                <c:pt idx="111">
                  <c:v>Schick</c:v>
                </c:pt>
                <c:pt idx="112">
                  <c:v>Gillette</c:v>
                </c:pt>
                <c:pt idx="113">
                  <c:v>Bic</c:v>
                </c:pt>
                <c:pt idx="114">
                  <c:v>Dollar Shav</c:v>
                </c:pt>
                <c:pt idx="115">
                  <c:v>Bic</c:v>
                </c:pt>
                <c:pt idx="116">
                  <c:v>Gillette</c:v>
                </c:pt>
                <c:pt idx="117">
                  <c:v>Bic</c:v>
                </c:pt>
                <c:pt idx="118">
                  <c:v>Gillette</c:v>
                </c:pt>
                <c:pt idx="119">
                  <c:v>Gillette</c:v>
                </c:pt>
                <c:pt idx="120">
                  <c:v>Gillette</c:v>
                </c:pt>
                <c:pt idx="121">
                  <c:v>Harry's</c:v>
                </c:pt>
                <c:pt idx="122">
                  <c:v>Gillette</c:v>
                </c:pt>
                <c:pt idx="123">
                  <c:v>Harry's</c:v>
                </c:pt>
                <c:pt idx="124">
                  <c:v>Schick</c:v>
                </c:pt>
                <c:pt idx="125">
                  <c:v>Schick</c:v>
                </c:pt>
                <c:pt idx="126">
                  <c:v>Cremo</c:v>
                </c:pt>
                <c:pt idx="127">
                  <c:v>Cremo</c:v>
                </c:pt>
                <c:pt idx="128">
                  <c:v>Bic</c:v>
                </c:pt>
                <c:pt idx="129">
                  <c:v>Gillette</c:v>
                </c:pt>
                <c:pt idx="130">
                  <c:v>Comfort 3</c:v>
                </c:pt>
                <c:pt idx="131">
                  <c:v>Bic</c:v>
                </c:pt>
                <c:pt idx="132">
                  <c:v>Bic</c:v>
                </c:pt>
                <c:pt idx="133">
                  <c:v>Gillette</c:v>
                </c:pt>
                <c:pt idx="134">
                  <c:v>Schick</c:v>
                </c:pt>
                <c:pt idx="135">
                  <c:v>Harry's</c:v>
                </c:pt>
                <c:pt idx="136">
                  <c:v>Dollar Shav</c:v>
                </c:pt>
                <c:pt idx="137">
                  <c:v>Harry's</c:v>
                </c:pt>
                <c:pt idx="138">
                  <c:v>Bic</c:v>
                </c:pt>
                <c:pt idx="139">
                  <c:v>Gillette</c:v>
                </c:pt>
                <c:pt idx="140">
                  <c:v>Gillette</c:v>
                </c:pt>
                <c:pt idx="141">
                  <c:v>Equate</c:v>
                </c:pt>
                <c:pt idx="142">
                  <c:v>Gillette</c:v>
                </c:pt>
                <c:pt idx="143">
                  <c:v>Dollar Shav</c:v>
                </c:pt>
                <c:pt idx="144">
                  <c:v>All Others</c:v>
                </c:pt>
                <c:pt idx="145">
                  <c:v>Gillette</c:v>
                </c:pt>
                <c:pt idx="146">
                  <c:v>Dollar Shav</c:v>
                </c:pt>
                <c:pt idx="147">
                  <c:v>Schick</c:v>
                </c:pt>
                <c:pt idx="148">
                  <c:v>Schick</c:v>
                </c:pt>
                <c:pt idx="149">
                  <c:v>Harry's</c:v>
                </c:pt>
                <c:pt idx="150">
                  <c:v>Gillette</c:v>
                </c:pt>
                <c:pt idx="151">
                  <c:v>All Others</c:v>
                </c:pt>
                <c:pt idx="152">
                  <c:v>Schick</c:v>
                </c:pt>
                <c:pt idx="153">
                  <c:v>Gillette</c:v>
                </c:pt>
                <c:pt idx="154">
                  <c:v>Gillette</c:v>
                </c:pt>
                <c:pt idx="155">
                  <c:v>Gillette</c:v>
                </c:pt>
                <c:pt idx="156">
                  <c:v>Equate</c:v>
                </c:pt>
                <c:pt idx="157">
                  <c:v>Dollar Shav</c:v>
                </c:pt>
                <c:pt idx="158">
                  <c:v>Gillette</c:v>
                </c:pt>
                <c:pt idx="159">
                  <c:v>Gillette</c:v>
                </c:pt>
                <c:pt idx="160">
                  <c:v>Schick</c:v>
                </c:pt>
                <c:pt idx="161">
                  <c:v>Harry's</c:v>
                </c:pt>
                <c:pt idx="162">
                  <c:v>Van Der Hag</c:v>
                </c:pt>
                <c:pt idx="163">
                  <c:v>Comfort 3</c:v>
                </c:pt>
                <c:pt idx="164">
                  <c:v>Gillette</c:v>
                </c:pt>
                <c:pt idx="165">
                  <c:v>Schick</c:v>
                </c:pt>
                <c:pt idx="166">
                  <c:v>Gillette</c:v>
                </c:pt>
                <c:pt idx="167">
                  <c:v>Gillette</c:v>
                </c:pt>
                <c:pt idx="168">
                  <c:v>Schick</c:v>
                </c:pt>
                <c:pt idx="169">
                  <c:v>Gillette</c:v>
                </c:pt>
                <c:pt idx="170">
                  <c:v>Dollar Shav</c:v>
                </c:pt>
                <c:pt idx="171">
                  <c:v>Gillette</c:v>
                </c:pt>
                <c:pt idx="172">
                  <c:v>Gillette</c:v>
                </c:pt>
                <c:pt idx="173">
                  <c:v>Schick</c:v>
                </c:pt>
                <c:pt idx="174">
                  <c:v>Equate</c:v>
                </c:pt>
                <c:pt idx="175">
                  <c:v>Schick</c:v>
                </c:pt>
                <c:pt idx="176">
                  <c:v>Cremo</c:v>
                </c:pt>
                <c:pt idx="177">
                  <c:v>Gillette</c:v>
                </c:pt>
                <c:pt idx="178">
                  <c:v>Bic</c:v>
                </c:pt>
                <c:pt idx="179">
                  <c:v>Gillette</c:v>
                </c:pt>
                <c:pt idx="180">
                  <c:v>Schick</c:v>
                </c:pt>
                <c:pt idx="181">
                  <c:v>Gillette</c:v>
                </c:pt>
                <c:pt idx="182">
                  <c:v>Gillette</c:v>
                </c:pt>
                <c:pt idx="183">
                  <c:v>Bic</c:v>
                </c:pt>
                <c:pt idx="184">
                  <c:v>Cremo</c:v>
                </c:pt>
                <c:pt idx="185">
                  <c:v>Gillette</c:v>
                </c:pt>
                <c:pt idx="186">
                  <c:v>Gillette</c:v>
                </c:pt>
                <c:pt idx="187">
                  <c:v>Schick</c:v>
                </c:pt>
                <c:pt idx="188">
                  <c:v>Harry's</c:v>
                </c:pt>
                <c:pt idx="189">
                  <c:v>Harry's</c:v>
                </c:pt>
                <c:pt idx="190">
                  <c:v>Schick</c:v>
                </c:pt>
                <c:pt idx="191">
                  <c:v>Gillette</c:v>
                </c:pt>
                <c:pt idx="192">
                  <c:v>Schick</c:v>
                </c:pt>
                <c:pt idx="193">
                  <c:v>Schick</c:v>
                </c:pt>
                <c:pt idx="194">
                  <c:v>Schick</c:v>
                </c:pt>
                <c:pt idx="195">
                  <c:v>Dollar Shav</c:v>
                </c:pt>
                <c:pt idx="196">
                  <c:v>Gillette</c:v>
                </c:pt>
                <c:pt idx="197">
                  <c:v>Bic</c:v>
                </c:pt>
                <c:pt idx="198">
                  <c:v>Unilever: A</c:v>
                </c:pt>
                <c:pt idx="199">
                  <c:v>Schick</c:v>
                </c:pt>
                <c:pt idx="200">
                  <c:v>Gillette</c:v>
                </c:pt>
                <c:pt idx="201">
                  <c:v>Schick</c:v>
                </c:pt>
                <c:pt idx="202">
                  <c:v>Schick</c:v>
                </c:pt>
                <c:pt idx="203">
                  <c:v>Schick</c:v>
                </c:pt>
                <c:pt idx="204">
                  <c:v>Gillette</c:v>
                </c:pt>
                <c:pt idx="205">
                  <c:v>Bic</c:v>
                </c:pt>
                <c:pt idx="206">
                  <c:v>Gillette</c:v>
                </c:pt>
                <c:pt idx="207">
                  <c:v>Gillette</c:v>
                </c:pt>
                <c:pt idx="208">
                  <c:v>Bic</c:v>
                </c:pt>
                <c:pt idx="209">
                  <c:v>Equate</c:v>
                </c:pt>
                <c:pt idx="210">
                  <c:v>Schick</c:v>
                </c:pt>
                <c:pt idx="211">
                  <c:v>Schick</c:v>
                </c:pt>
                <c:pt idx="212">
                  <c:v>Schick</c:v>
                </c:pt>
                <c:pt idx="213">
                  <c:v>Gillette</c:v>
                </c:pt>
                <c:pt idx="214">
                  <c:v>Dollar Shav</c:v>
                </c:pt>
                <c:pt idx="215">
                  <c:v>Equate</c:v>
                </c:pt>
                <c:pt idx="216">
                  <c:v>Gillette</c:v>
                </c:pt>
                <c:pt idx="217">
                  <c:v>Gillette</c:v>
                </c:pt>
                <c:pt idx="218">
                  <c:v>Gillette</c:v>
                </c:pt>
                <c:pt idx="219">
                  <c:v>Schick</c:v>
                </c:pt>
                <c:pt idx="220">
                  <c:v>Edgewell Pe</c:v>
                </c:pt>
                <c:pt idx="221">
                  <c:v>Bic</c:v>
                </c:pt>
                <c:pt idx="222">
                  <c:v>Gillette</c:v>
                </c:pt>
                <c:pt idx="223">
                  <c:v>Gillette</c:v>
                </c:pt>
                <c:pt idx="224">
                  <c:v>Van Der Hag</c:v>
                </c:pt>
                <c:pt idx="225">
                  <c:v>Schick</c:v>
                </c:pt>
                <c:pt idx="226">
                  <c:v>Gillette</c:v>
                </c:pt>
                <c:pt idx="227">
                  <c:v>Van Der Hag</c:v>
                </c:pt>
                <c:pt idx="228">
                  <c:v>Gillette</c:v>
                </c:pt>
                <c:pt idx="229">
                  <c:v>Bic</c:v>
                </c:pt>
                <c:pt idx="230">
                  <c:v>Gillette</c:v>
                </c:pt>
                <c:pt idx="231">
                  <c:v>Gillette</c:v>
                </c:pt>
                <c:pt idx="232">
                  <c:v>Bic</c:v>
                </c:pt>
                <c:pt idx="233">
                  <c:v>Schick</c:v>
                </c:pt>
                <c:pt idx="234">
                  <c:v>Schick</c:v>
                </c:pt>
                <c:pt idx="235">
                  <c:v>Equate</c:v>
                </c:pt>
                <c:pt idx="236">
                  <c:v>Gillette</c:v>
                </c:pt>
                <c:pt idx="237">
                  <c:v>Schick</c:v>
                </c:pt>
                <c:pt idx="238">
                  <c:v>Gillette</c:v>
                </c:pt>
                <c:pt idx="239">
                  <c:v>Dollar Shav</c:v>
                </c:pt>
                <c:pt idx="240">
                  <c:v>Gillette</c:v>
                </c:pt>
                <c:pt idx="241">
                  <c:v>Bic</c:v>
                </c:pt>
                <c:pt idx="242">
                  <c:v>Schick</c:v>
                </c:pt>
                <c:pt idx="243">
                  <c:v>Bic</c:v>
                </c:pt>
                <c:pt idx="244">
                  <c:v>Gillette</c:v>
                </c:pt>
                <c:pt idx="245">
                  <c:v>Bic</c:v>
                </c:pt>
                <c:pt idx="246">
                  <c:v>Equate</c:v>
                </c:pt>
                <c:pt idx="247">
                  <c:v>Equate</c:v>
                </c:pt>
                <c:pt idx="248">
                  <c:v>Bic</c:v>
                </c:pt>
                <c:pt idx="249">
                  <c:v>Bic</c:v>
                </c:pt>
                <c:pt idx="250">
                  <c:v>Equate</c:v>
                </c:pt>
                <c:pt idx="251">
                  <c:v>Schick</c:v>
                </c:pt>
                <c:pt idx="252">
                  <c:v>Schick</c:v>
                </c:pt>
                <c:pt idx="253">
                  <c:v>Gillette</c:v>
                </c:pt>
                <c:pt idx="254">
                  <c:v>Gillette</c:v>
                </c:pt>
                <c:pt idx="255">
                  <c:v>Gillette</c:v>
                </c:pt>
                <c:pt idx="256">
                  <c:v>Equate</c:v>
                </c:pt>
                <c:pt idx="257">
                  <c:v>Edgewell Pe</c:v>
                </c:pt>
                <c:pt idx="258">
                  <c:v>Schick</c:v>
                </c:pt>
                <c:pt idx="259">
                  <c:v>Bic</c:v>
                </c:pt>
                <c:pt idx="260">
                  <c:v>Gillette</c:v>
                </c:pt>
                <c:pt idx="261">
                  <c:v>Gillette</c:v>
                </c:pt>
                <c:pt idx="262">
                  <c:v>Gillette</c:v>
                </c:pt>
                <c:pt idx="263">
                  <c:v>Schick</c:v>
                </c:pt>
                <c:pt idx="264">
                  <c:v>Gillette</c:v>
                </c:pt>
                <c:pt idx="265">
                  <c:v>All Others</c:v>
                </c:pt>
                <c:pt idx="266">
                  <c:v>Schick</c:v>
                </c:pt>
                <c:pt idx="267">
                  <c:v>Schick</c:v>
                </c:pt>
                <c:pt idx="268">
                  <c:v>Gillette</c:v>
                </c:pt>
                <c:pt idx="269">
                  <c:v>Gillette</c:v>
                </c:pt>
                <c:pt idx="270">
                  <c:v>Harry's</c:v>
                </c:pt>
                <c:pt idx="271">
                  <c:v>Schick</c:v>
                </c:pt>
                <c:pt idx="272">
                  <c:v>Schick</c:v>
                </c:pt>
                <c:pt idx="273">
                  <c:v>Schick</c:v>
                </c:pt>
                <c:pt idx="274">
                  <c:v>Gillette</c:v>
                </c:pt>
                <c:pt idx="275">
                  <c:v>Schick</c:v>
                </c:pt>
                <c:pt idx="276">
                  <c:v>Gillette</c:v>
                </c:pt>
                <c:pt idx="277">
                  <c:v>Schick</c:v>
                </c:pt>
                <c:pt idx="278">
                  <c:v>Equate</c:v>
                </c:pt>
                <c:pt idx="279">
                  <c:v>Schick</c:v>
                </c:pt>
                <c:pt idx="280">
                  <c:v>Barbasol</c:v>
                </c:pt>
                <c:pt idx="281">
                  <c:v>Equate</c:v>
                </c:pt>
                <c:pt idx="282">
                  <c:v>Gillette</c:v>
                </c:pt>
                <c:pt idx="283">
                  <c:v>Gillette</c:v>
                </c:pt>
                <c:pt idx="284">
                  <c:v>Schick</c:v>
                </c:pt>
                <c:pt idx="285">
                  <c:v>Gillette</c:v>
                </c:pt>
                <c:pt idx="286">
                  <c:v>Edgewell Pe</c:v>
                </c:pt>
                <c:pt idx="287">
                  <c:v>Bic</c:v>
                </c:pt>
                <c:pt idx="288">
                  <c:v>Bic</c:v>
                </c:pt>
                <c:pt idx="289">
                  <c:v>Gillette</c:v>
                </c:pt>
                <c:pt idx="290">
                  <c:v>Schick</c:v>
                </c:pt>
                <c:pt idx="291">
                  <c:v>Schick</c:v>
                </c:pt>
                <c:pt idx="292">
                  <c:v>Barbasol</c:v>
                </c:pt>
                <c:pt idx="293">
                  <c:v>Bic</c:v>
                </c:pt>
                <c:pt idx="294">
                  <c:v>Schick</c:v>
                </c:pt>
                <c:pt idx="295">
                  <c:v>Schick</c:v>
                </c:pt>
                <c:pt idx="296">
                  <c:v>Gillette</c:v>
                </c:pt>
                <c:pt idx="297">
                  <c:v>Gillette</c:v>
                </c:pt>
                <c:pt idx="298">
                  <c:v>Gillette</c:v>
                </c:pt>
                <c:pt idx="299">
                  <c:v>Schick</c:v>
                </c:pt>
                <c:pt idx="300">
                  <c:v>Equate</c:v>
                </c:pt>
                <c:pt idx="301">
                  <c:v>Schick</c:v>
                </c:pt>
                <c:pt idx="302">
                  <c:v>Dollar Shav</c:v>
                </c:pt>
                <c:pt idx="303">
                  <c:v>Equate</c:v>
                </c:pt>
                <c:pt idx="304">
                  <c:v>Personna</c:v>
                </c:pt>
                <c:pt idx="305">
                  <c:v>Gillette</c:v>
                </c:pt>
                <c:pt idx="306">
                  <c:v>Gillette</c:v>
                </c:pt>
                <c:pt idx="307">
                  <c:v>Gillette</c:v>
                </c:pt>
                <c:pt idx="308">
                  <c:v>Equate</c:v>
                </c:pt>
                <c:pt idx="309">
                  <c:v>Gillette</c:v>
                </c:pt>
                <c:pt idx="310">
                  <c:v>Schick</c:v>
                </c:pt>
                <c:pt idx="311">
                  <c:v>Personna</c:v>
                </c:pt>
                <c:pt idx="312">
                  <c:v>Bic</c:v>
                </c:pt>
                <c:pt idx="313">
                  <c:v>Edgewell Pe</c:v>
                </c:pt>
                <c:pt idx="314">
                  <c:v>Bic</c:v>
                </c:pt>
                <c:pt idx="315">
                  <c:v>Dollar Shav</c:v>
                </c:pt>
                <c:pt idx="316">
                  <c:v>Unilever: A</c:v>
                </c:pt>
                <c:pt idx="317">
                  <c:v>Schick</c:v>
                </c:pt>
                <c:pt idx="318">
                  <c:v>Equate</c:v>
                </c:pt>
                <c:pt idx="319">
                  <c:v>Schick</c:v>
                </c:pt>
                <c:pt idx="320">
                  <c:v>Gillette</c:v>
                </c:pt>
                <c:pt idx="321">
                  <c:v>Gillette</c:v>
                </c:pt>
                <c:pt idx="322">
                  <c:v>Schick</c:v>
                </c:pt>
                <c:pt idx="323">
                  <c:v>Schick</c:v>
                </c:pt>
                <c:pt idx="324">
                  <c:v>Gillette</c:v>
                </c:pt>
                <c:pt idx="325">
                  <c:v>All Others</c:v>
                </c:pt>
                <c:pt idx="326">
                  <c:v>Bic</c:v>
                </c:pt>
                <c:pt idx="327">
                  <c:v>Procter &amp; G</c:v>
                </c:pt>
                <c:pt idx="328">
                  <c:v>Gillette</c:v>
                </c:pt>
                <c:pt idx="329">
                  <c:v>Gillette</c:v>
                </c:pt>
                <c:pt idx="330">
                  <c:v>Gillette</c:v>
                </c:pt>
                <c:pt idx="331">
                  <c:v>Gillette</c:v>
                </c:pt>
                <c:pt idx="332">
                  <c:v>Private Lab</c:v>
                </c:pt>
                <c:pt idx="333">
                  <c:v>Gillette</c:v>
                </c:pt>
                <c:pt idx="334">
                  <c:v>Gillette</c:v>
                </c:pt>
                <c:pt idx="335">
                  <c:v>Schick</c:v>
                </c:pt>
              </c:strCache>
            </c:strRef>
          </c:cat>
          <c:val>
            <c:numRef>
              <c:f>Sheet1!$B$2:$B$337</c:f>
              <c:numCache>
                <c:formatCode>General</c:formatCode>
                <c:ptCount val="336"/>
                <c:pt idx="0">
                  <c:v>0.99</c:v>
                </c:pt>
                <c:pt idx="1">
                  <c:v>0.99</c:v>
                </c:pt>
                <c:pt idx="2">
                  <c:v>0.99</c:v>
                </c:pt>
                <c:pt idx="3">
                  <c:v>0.94</c:v>
                </c:pt>
                <c:pt idx="4">
                  <c:v>0.94</c:v>
                </c:pt>
                <c:pt idx="5">
                  <c:v>0.88</c:v>
                </c:pt>
                <c:pt idx="6">
                  <c:v>0.65</c:v>
                </c:pt>
                <c:pt idx="7">
                  <c:v>0.96</c:v>
                </c:pt>
                <c:pt idx="8">
                  <c:v>0.92</c:v>
                </c:pt>
                <c:pt idx="9">
                  <c:v>0.84</c:v>
                </c:pt>
                <c:pt idx="10">
                  <c:v>0.99</c:v>
                </c:pt>
                <c:pt idx="11">
                  <c:v>0.86</c:v>
                </c:pt>
                <c:pt idx="12">
                  <c:v>0.98</c:v>
                </c:pt>
                <c:pt idx="13">
                  <c:v>0.89</c:v>
                </c:pt>
                <c:pt idx="14">
                  <c:v>0.81</c:v>
                </c:pt>
                <c:pt idx="15">
                  <c:v>0.95</c:v>
                </c:pt>
                <c:pt idx="16">
                  <c:v>0.91</c:v>
                </c:pt>
                <c:pt idx="17">
                  <c:v>0.87</c:v>
                </c:pt>
                <c:pt idx="18">
                  <c:v>0.94</c:v>
                </c:pt>
                <c:pt idx="19">
                  <c:v>0.66</c:v>
                </c:pt>
                <c:pt idx="20">
                  <c:v>0.69</c:v>
                </c:pt>
                <c:pt idx="21">
                  <c:v>0.97</c:v>
                </c:pt>
                <c:pt idx="22">
                  <c:v>0.75</c:v>
                </c:pt>
                <c:pt idx="23">
                  <c:v>0.96</c:v>
                </c:pt>
                <c:pt idx="24">
                  <c:v>0.96</c:v>
                </c:pt>
                <c:pt idx="25">
                  <c:v>0.83</c:v>
                </c:pt>
                <c:pt idx="26">
                  <c:v>0.99</c:v>
                </c:pt>
                <c:pt idx="27">
                  <c:v>0.66</c:v>
                </c:pt>
                <c:pt idx="28">
                  <c:v>0.8</c:v>
                </c:pt>
                <c:pt idx="29">
                  <c:v>0.68</c:v>
                </c:pt>
                <c:pt idx="30">
                  <c:v>0.76</c:v>
                </c:pt>
                <c:pt idx="31">
                  <c:v>0.84</c:v>
                </c:pt>
                <c:pt idx="32">
                  <c:v>0.95</c:v>
                </c:pt>
                <c:pt idx="33">
                  <c:v>0.88</c:v>
                </c:pt>
                <c:pt idx="34">
                  <c:v>0.46</c:v>
                </c:pt>
                <c:pt idx="35">
                  <c:v>0.91</c:v>
                </c:pt>
                <c:pt idx="36">
                  <c:v>0.86</c:v>
                </c:pt>
                <c:pt idx="37">
                  <c:v>0.62</c:v>
                </c:pt>
                <c:pt idx="38">
                  <c:v>0.87</c:v>
                </c:pt>
                <c:pt idx="39">
                  <c:v>0.64</c:v>
                </c:pt>
                <c:pt idx="40">
                  <c:v>0.56999999999999995</c:v>
                </c:pt>
                <c:pt idx="41">
                  <c:v>0.87</c:v>
                </c:pt>
                <c:pt idx="42">
                  <c:v>0.86</c:v>
                </c:pt>
                <c:pt idx="43">
                  <c:v>0.96</c:v>
                </c:pt>
                <c:pt idx="44">
                  <c:v>0.81</c:v>
                </c:pt>
                <c:pt idx="45">
                  <c:v>0.63</c:v>
                </c:pt>
                <c:pt idx="46">
                  <c:v>0.67</c:v>
                </c:pt>
                <c:pt idx="47">
                  <c:v>0.99</c:v>
                </c:pt>
                <c:pt idx="48">
                  <c:v>0.49</c:v>
                </c:pt>
                <c:pt idx="49">
                  <c:v>0.84</c:v>
                </c:pt>
                <c:pt idx="50">
                  <c:v>0.81</c:v>
                </c:pt>
                <c:pt idx="51">
                  <c:v>0.9</c:v>
                </c:pt>
                <c:pt idx="52">
                  <c:v>0.93</c:v>
                </c:pt>
                <c:pt idx="53">
                  <c:v>0.9</c:v>
                </c:pt>
                <c:pt idx="54">
                  <c:v>0.97</c:v>
                </c:pt>
                <c:pt idx="55">
                  <c:v>0.65</c:v>
                </c:pt>
                <c:pt idx="56">
                  <c:v>0.67</c:v>
                </c:pt>
                <c:pt idx="57">
                  <c:v>0.65</c:v>
                </c:pt>
                <c:pt idx="58">
                  <c:v>0.91</c:v>
                </c:pt>
                <c:pt idx="59">
                  <c:v>0.91</c:v>
                </c:pt>
                <c:pt idx="60">
                  <c:v>0.95</c:v>
                </c:pt>
                <c:pt idx="61">
                  <c:v>0.59</c:v>
                </c:pt>
                <c:pt idx="62">
                  <c:v>0.96</c:v>
                </c:pt>
                <c:pt idx="63">
                  <c:v>0.73</c:v>
                </c:pt>
                <c:pt idx="64">
                  <c:v>0.64</c:v>
                </c:pt>
                <c:pt idx="65">
                  <c:v>0.89</c:v>
                </c:pt>
                <c:pt idx="66">
                  <c:v>0.93</c:v>
                </c:pt>
                <c:pt idx="67">
                  <c:v>0.9</c:v>
                </c:pt>
                <c:pt idx="68">
                  <c:v>0.56999999999999995</c:v>
                </c:pt>
                <c:pt idx="69">
                  <c:v>0.64</c:v>
                </c:pt>
                <c:pt idx="70">
                  <c:v>0.66</c:v>
                </c:pt>
                <c:pt idx="71">
                  <c:v>0.77</c:v>
                </c:pt>
                <c:pt idx="72">
                  <c:v>0.67</c:v>
                </c:pt>
                <c:pt idx="73">
                  <c:v>0.6</c:v>
                </c:pt>
                <c:pt idx="74">
                  <c:v>0.68</c:v>
                </c:pt>
                <c:pt idx="75">
                  <c:v>0.57999999999999996</c:v>
                </c:pt>
                <c:pt idx="76">
                  <c:v>0.35</c:v>
                </c:pt>
                <c:pt idx="77">
                  <c:v>0.89</c:v>
                </c:pt>
                <c:pt idx="78">
                  <c:v>0.83</c:v>
                </c:pt>
                <c:pt idx="79">
                  <c:v>0.75</c:v>
                </c:pt>
                <c:pt idx="80">
                  <c:v>0.87</c:v>
                </c:pt>
                <c:pt idx="81">
                  <c:v>0.98</c:v>
                </c:pt>
                <c:pt idx="82">
                  <c:v>0.46</c:v>
                </c:pt>
                <c:pt idx="83">
                  <c:v>0.91</c:v>
                </c:pt>
                <c:pt idx="84">
                  <c:v>0.41</c:v>
                </c:pt>
                <c:pt idx="85">
                  <c:v>0.8</c:v>
                </c:pt>
                <c:pt idx="86">
                  <c:v>0.49</c:v>
                </c:pt>
                <c:pt idx="87">
                  <c:v>0.87</c:v>
                </c:pt>
                <c:pt idx="88">
                  <c:v>0.21</c:v>
                </c:pt>
                <c:pt idx="89">
                  <c:v>0.26</c:v>
                </c:pt>
                <c:pt idx="90">
                  <c:v>0.6</c:v>
                </c:pt>
                <c:pt idx="91">
                  <c:v>0.47</c:v>
                </c:pt>
                <c:pt idx="92">
                  <c:v>0.6</c:v>
                </c:pt>
                <c:pt idx="93">
                  <c:v>0.31</c:v>
                </c:pt>
                <c:pt idx="94">
                  <c:v>0.83</c:v>
                </c:pt>
                <c:pt idx="95">
                  <c:v>0.84</c:v>
                </c:pt>
                <c:pt idx="96">
                  <c:v>0.74</c:v>
                </c:pt>
                <c:pt idx="97">
                  <c:v>0.17</c:v>
                </c:pt>
                <c:pt idx="98">
                  <c:v>0.69</c:v>
                </c:pt>
                <c:pt idx="99">
                  <c:v>0.74</c:v>
                </c:pt>
                <c:pt idx="100">
                  <c:v>0.52</c:v>
                </c:pt>
                <c:pt idx="101">
                  <c:v>0.64</c:v>
                </c:pt>
                <c:pt idx="102">
                  <c:v>0.78</c:v>
                </c:pt>
                <c:pt idx="103">
                  <c:v>0.71</c:v>
                </c:pt>
                <c:pt idx="104">
                  <c:v>0.38</c:v>
                </c:pt>
                <c:pt idx="105">
                  <c:v>0.46</c:v>
                </c:pt>
                <c:pt idx="106">
                  <c:v>0.56000000000000005</c:v>
                </c:pt>
                <c:pt idx="107">
                  <c:v>0.86</c:v>
                </c:pt>
                <c:pt idx="108">
                  <c:v>0.91</c:v>
                </c:pt>
                <c:pt idx="109">
                  <c:v>0.84</c:v>
                </c:pt>
                <c:pt idx="110">
                  <c:v>0.61</c:v>
                </c:pt>
                <c:pt idx="111">
                  <c:v>0.66</c:v>
                </c:pt>
                <c:pt idx="112">
                  <c:v>0.33</c:v>
                </c:pt>
                <c:pt idx="113">
                  <c:v>0.75</c:v>
                </c:pt>
                <c:pt idx="114">
                  <c:v>0.65</c:v>
                </c:pt>
                <c:pt idx="115">
                  <c:v>0.53</c:v>
                </c:pt>
                <c:pt idx="116">
                  <c:v>0.56000000000000005</c:v>
                </c:pt>
                <c:pt idx="117">
                  <c:v>0.73</c:v>
                </c:pt>
                <c:pt idx="118">
                  <c:v>0.35</c:v>
                </c:pt>
                <c:pt idx="119">
                  <c:v>0.42</c:v>
                </c:pt>
                <c:pt idx="120">
                  <c:v>0.18</c:v>
                </c:pt>
                <c:pt idx="121">
                  <c:v>0.68</c:v>
                </c:pt>
                <c:pt idx="122">
                  <c:v>0.19</c:v>
                </c:pt>
                <c:pt idx="123">
                  <c:v>0.55000000000000004</c:v>
                </c:pt>
                <c:pt idx="124">
                  <c:v>0.06</c:v>
                </c:pt>
                <c:pt idx="125">
                  <c:v>0.05</c:v>
                </c:pt>
                <c:pt idx="126">
                  <c:v>0.13</c:v>
                </c:pt>
                <c:pt idx="127">
                  <c:v>7.0000000000000007E-2</c:v>
                </c:pt>
                <c:pt idx="128">
                  <c:v>0.04</c:v>
                </c:pt>
                <c:pt idx="129">
                  <c:v>0.33</c:v>
                </c:pt>
                <c:pt idx="130">
                  <c:v>0.02</c:v>
                </c:pt>
                <c:pt idx="131">
                  <c:v>0.01</c:v>
                </c:pt>
                <c:pt idx="132">
                  <c:v>0.01</c:v>
                </c:pt>
                <c:pt idx="133">
                  <c:v>0.01</c:v>
                </c:pt>
                <c:pt idx="134">
                  <c:v>0.01</c:v>
                </c:pt>
                <c:pt idx="135">
                  <c:v>0.01</c:v>
                </c:pt>
                <c:pt idx="136">
                  <c:v>0.01</c:v>
                </c:pt>
                <c:pt idx="137">
                  <c:v>0.01</c:v>
                </c:pt>
                <c:pt idx="138">
                  <c:v>0.01</c:v>
                </c:pt>
                <c:pt idx="139">
                  <c:v>0.01</c:v>
                </c:pt>
                <c:pt idx="140">
                  <c:v>0.01</c:v>
                </c:pt>
                <c:pt idx="141">
                  <c:v>0.01</c:v>
                </c:pt>
                <c:pt idx="142">
                  <c:v>0.01</c:v>
                </c:pt>
                <c:pt idx="143">
                  <c:v>0.01</c:v>
                </c:pt>
                <c:pt idx="144">
                  <c:v>0.01</c:v>
                </c:pt>
                <c:pt idx="145">
                  <c:v>0.01</c:v>
                </c:pt>
                <c:pt idx="146">
                  <c:v>0.01</c:v>
                </c:pt>
                <c:pt idx="147">
                  <c:v>0.01</c:v>
                </c:pt>
                <c:pt idx="148">
                  <c:v>0.01</c:v>
                </c:pt>
                <c:pt idx="149">
                  <c:v>0.01</c:v>
                </c:pt>
                <c:pt idx="150">
                  <c:v>0.01</c:v>
                </c:pt>
                <c:pt idx="151">
                  <c:v>0.01</c:v>
                </c:pt>
                <c:pt idx="152">
                  <c:v>0.01</c:v>
                </c:pt>
                <c:pt idx="153">
                  <c:v>0.01</c:v>
                </c:pt>
                <c:pt idx="154">
                  <c:v>0.01</c:v>
                </c:pt>
                <c:pt idx="155">
                  <c:v>0.01</c:v>
                </c:pt>
                <c:pt idx="156">
                  <c:v>0.01</c:v>
                </c:pt>
                <c:pt idx="157">
                  <c:v>0.01</c:v>
                </c:pt>
                <c:pt idx="158">
                  <c:v>0.01</c:v>
                </c:pt>
                <c:pt idx="159">
                  <c:v>0.01</c:v>
                </c:pt>
                <c:pt idx="160">
                  <c:v>0.01</c:v>
                </c:pt>
                <c:pt idx="161">
                  <c:v>0.01</c:v>
                </c:pt>
                <c:pt idx="162">
                  <c:v>0.01</c:v>
                </c:pt>
                <c:pt idx="163">
                  <c:v>0.01</c:v>
                </c:pt>
                <c:pt idx="164">
                  <c:v>0.01</c:v>
                </c:pt>
                <c:pt idx="165">
                  <c:v>0.01</c:v>
                </c:pt>
                <c:pt idx="166">
                  <c:v>0.01</c:v>
                </c:pt>
                <c:pt idx="167">
                  <c:v>0.01</c:v>
                </c:pt>
                <c:pt idx="168">
                  <c:v>0.01</c:v>
                </c:pt>
                <c:pt idx="169">
                  <c:v>0.01</c:v>
                </c:pt>
                <c:pt idx="170">
                  <c:v>0.01</c:v>
                </c:pt>
                <c:pt idx="171">
                  <c:v>0.01</c:v>
                </c:pt>
                <c:pt idx="172">
                  <c:v>0.01</c:v>
                </c:pt>
                <c:pt idx="173">
                  <c:v>0.01</c:v>
                </c:pt>
                <c:pt idx="174">
                  <c:v>0.01</c:v>
                </c:pt>
                <c:pt idx="175">
                  <c:v>0.01</c:v>
                </c:pt>
                <c:pt idx="176">
                  <c:v>0.01</c:v>
                </c:pt>
                <c:pt idx="177">
                  <c:v>0.01</c:v>
                </c:pt>
                <c:pt idx="178">
                  <c:v>0.01</c:v>
                </c:pt>
                <c:pt idx="179">
                  <c:v>0.01</c:v>
                </c:pt>
                <c:pt idx="180">
                  <c:v>0.01</c:v>
                </c:pt>
                <c:pt idx="181">
                  <c:v>0.01</c:v>
                </c:pt>
                <c:pt idx="182">
                  <c:v>0.01</c:v>
                </c:pt>
                <c:pt idx="183">
                  <c:v>0.01</c:v>
                </c:pt>
                <c:pt idx="184">
                  <c:v>0.01</c:v>
                </c:pt>
                <c:pt idx="185">
                  <c:v>0.01</c:v>
                </c:pt>
                <c:pt idx="186">
                  <c:v>0.01</c:v>
                </c:pt>
                <c:pt idx="187">
                  <c:v>0.01</c:v>
                </c:pt>
                <c:pt idx="188">
                  <c:v>0.01</c:v>
                </c:pt>
                <c:pt idx="189">
                  <c:v>0.01</c:v>
                </c:pt>
                <c:pt idx="190">
                  <c:v>0.01</c:v>
                </c:pt>
                <c:pt idx="191">
                  <c:v>0.01</c:v>
                </c:pt>
                <c:pt idx="192">
                  <c:v>0.01</c:v>
                </c:pt>
                <c:pt idx="193">
                  <c:v>0.01</c:v>
                </c:pt>
                <c:pt idx="194">
                  <c:v>0.01</c:v>
                </c:pt>
                <c:pt idx="195">
                  <c:v>0.01</c:v>
                </c:pt>
                <c:pt idx="196">
                  <c:v>0.01</c:v>
                </c:pt>
                <c:pt idx="197">
                  <c:v>0.01</c:v>
                </c:pt>
                <c:pt idx="198">
                  <c:v>0.01</c:v>
                </c:pt>
                <c:pt idx="199">
                  <c:v>0.01</c:v>
                </c:pt>
                <c:pt idx="200">
                  <c:v>0.01</c:v>
                </c:pt>
                <c:pt idx="201">
                  <c:v>0.01</c:v>
                </c:pt>
                <c:pt idx="202">
                  <c:v>0.01</c:v>
                </c:pt>
                <c:pt idx="203">
                  <c:v>0.01</c:v>
                </c:pt>
                <c:pt idx="204">
                  <c:v>0.01</c:v>
                </c:pt>
                <c:pt idx="205">
                  <c:v>0.01</c:v>
                </c:pt>
                <c:pt idx="206">
                  <c:v>0.01</c:v>
                </c:pt>
                <c:pt idx="207">
                  <c:v>0.01</c:v>
                </c:pt>
                <c:pt idx="208">
                  <c:v>0.01</c:v>
                </c:pt>
                <c:pt idx="209">
                  <c:v>0.01</c:v>
                </c:pt>
                <c:pt idx="210">
                  <c:v>0.01</c:v>
                </c:pt>
                <c:pt idx="211">
                  <c:v>0.01</c:v>
                </c:pt>
                <c:pt idx="212">
                  <c:v>0.01</c:v>
                </c:pt>
                <c:pt idx="213">
                  <c:v>0.01</c:v>
                </c:pt>
                <c:pt idx="214">
                  <c:v>0.01</c:v>
                </c:pt>
                <c:pt idx="215">
                  <c:v>0.01</c:v>
                </c:pt>
                <c:pt idx="216">
                  <c:v>0.01</c:v>
                </c:pt>
                <c:pt idx="217">
                  <c:v>0.01</c:v>
                </c:pt>
                <c:pt idx="218">
                  <c:v>0.01</c:v>
                </c:pt>
                <c:pt idx="219">
                  <c:v>0.01</c:v>
                </c:pt>
                <c:pt idx="220">
                  <c:v>0.01</c:v>
                </c:pt>
                <c:pt idx="221">
                  <c:v>0.01</c:v>
                </c:pt>
                <c:pt idx="222">
                  <c:v>0.01</c:v>
                </c:pt>
                <c:pt idx="223">
                  <c:v>0.01</c:v>
                </c:pt>
                <c:pt idx="224">
                  <c:v>0.01</c:v>
                </c:pt>
                <c:pt idx="225">
                  <c:v>0.01</c:v>
                </c:pt>
                <c:pt idx="226">
                  <c:v>0.01</c:v>
                </c:pt>
                <c:pt idx="227">
                  <c:v>0.01</c:v>
                </c:pt>
                <c:pt idx="228">
                  <c:v>0.01</c:v>
                </c:pt>
                <c:pt idx="229">
                  <c:v>0.01</c:v>
                </c:pt>
                <c:pt idx="230">
                  <c:v>0.01</c:v>
                </c:pt>
                <c:pt idx="231">
                  <c:v>0.01</c:v>
                </c:pt>
                <c:pt idx="232">
                  <c:v>0.01</c:v>
                </c:pt>
                <c:pt idx="233">
                  <c:v>0.01</c:v>
                </c:pt>
                <c:pt idx="234">
                  <c:v>0.01</c:v>
                </c:pt>
                <c:pt idx="235">
                  <c:v>0.01</c:v>
                </c:pt>
                <c:pt idx="236">
                  <c:v>0.01</c:v>
                </c:pt>
                <c:pt idx="237">
                  <c:v>0.01</c:v>
                </c:pt>
                <c:pt idx="238">
                  <c:v>0.01</c:v>
                </c:pt>
                <c:pt idx="239">
                  <c:v>0.01</c:v>
                </c:pt>
                <c:pt idx="240">
                  <c:v>0.01</c:v>
                </c:pt>
                <c:pt idx="241">
                  <c:v>0.01</c:v>
                </c:pt>
                <c:pt idx="242">
                  <c:v>0.01</c:v>
                </c:pt>
                <c:pt idx="243">
                  <c:v>0.01</c:v>
                </c:pt>
                <c:pt idx="244">
                  <c:v>0.01</c:v>
                </c:pt>
                <c:pt idx="245">
                  <c:v>0.01</c:v>
                </c:pt>
                <c:pt idx="246">
                  <c:v>0.01</c:v>
                </c:pt>
                <c:pt idx="247">
                  <c:v>0.01</c:v>
                </c:pt>
                <c:pt idx="248">
                  <c:v>0.01</c:v>
                </c:pt>
                <c:pt idx="249">
                  <c:v>0.01</c:v>
                </c:pt>
                <c:pt idx="250">
                  <c:v>0.01</c:v>
                </c:pt>
                <c:pt idx="251">
                  <c:v>0.01</c:v>
                </c:pt>
                <c:pt idx="252">
                  <c:v>0.01</c:v>
                </c:pt>
                <c:pt idx="253">
                  <c:v>0.01</c:v>
                </c:pt>
                <c:pt idx="254">
                  <c:v>0.01</c:v>
                </c:pt>
                <c:pt idx="255">
                  <c:v>0.01</c:v>
                </c:pt>
                <c:pt idx="256">
                  <c:v>0.01</c:v>
                </c:pt>
                <c:pt idx="257">
                  <c:v>0.01</c:v>
                </c:pt>
                <c:pt idx="258">
                  <c:v>0.01</c:v>
                </c:pt>
                <c:pt idx="259">
                  <c:v>0.01</c:v>
                </c:pt>
                <c:pt idx="260">
                  <c:v>0.01</c:v>
                </c:pt>
                <c:pt idx="261">
                  <c:v>0.01</c:v>
                </c:pt>
                <c:pt idx="262">
                  <c:v>0.01</c:v>
                </c:pt>
                <c:pt idx="263">
                  <c:v>0.01</c:v>
                </c:pt>
                <c:pt idx="264">
                  <c:v>0.01</c:v>
                </c:pt>
                <c:pt idx="265">
                  <c:v>0.01</c:v>
                </c:pt>
                <c:pt idx="266">
                  <c:v>0.01</c:v>
                </c:pt>
                <c:pt idx="267">
                  <c:v>0.01</c:v>
                </c:pt>
                <c:pt idx="268">
                  <c:v>0.01</c:v>
                </c:pt>
                <c:pt idx="269">
                  <c:v>0.01</c:v>
                </c:pt>
                <c:pt idx="270">
                  <c:v>0.01</c:v>
                </c:pt>
                <c:pt idx="271">
                  <c:v>0.01</c:v>
                </c:pt>
                <c:pt idx="272">
                  <c:v>0.01</c:v>
                </c:pt>
                <c:pt idx="273">
                  <c:v>0.01</c:v>
                </c:pt>
                <c:pt idx="274">
                  <c:v>0.01</c:v>
                </c:pt>
                <c:pt idx="275">
                  <c:v>0.01</c:v>
                </c:pt>
                <c:pt idx="276">
                  <c:v>0.01</c:v>
                </c:pt>
                <c:pt idx="277">
                  <c:v>0.01</c:v>
                </c:pt>
                <c:pt idx="278">
                  <c:v>0.01</c:v>
                </c:pt>
                <c:pt idx="279">
                  <c:v>0.01</c:v>
                </c:pt>
                <c:pt idx="280">
                  <c:v>0.01</c:v>
                </c:pt>
                <c:pt idx="281">
                  <c:v>0.01</c:v>
                </c:pt>
                <c:pt idx="282">
                  <c:v>0.01</c:v>
                </c:pt>
                <c:pt idx="283">
                  <c:v>0.01</c:v>
                </c:pt>
                <c:pt idx="284">
                  <c:v>0.01</c:v>
                </c:pt>
                <c:pt idx="285">
                  <c:v>0.01</c:v>
                </c:pt>
                <c:pt idx="286">
                  <c:v>0.01</c:v>
                </c:pt>
                <c:pt idx="287">
                  <c:v>0.01</c:v>
                </c:pt>
                <c:pt idx="288">
                  <c:v>0.01</c:v>
                </c:pt>
                <c:pt idx="289">
                  <c:v>0.01</c:v>
                </c:pt>
                <c:pt idx="290">
                  <c:v>0.01</c:v>
                </c:pt>
                <c:pt idx="291">
                  <c:v>0.01</c:v>
                </c:pt>
                <c:pt idx="292">
                  <c:v>0.01</c:v>
                </c:pt>
                <c:pt idx="293">
                  <c:v>0.01</c:v>
                </c:pt>
                <c:pt idx="294">
                  <c:v>0.01</c:v>
                </c:pt>
                <c:pt idx="295">
                  <c:v>0.01</c:v>
                </c:pt>
                <c:pt idx="296">
                  <c:v>0.01</c:v>
                </c:pt>
                <c:pt idx="297">
                  <c:v>0.01</c:v>
                </c:pt>
                <c:pt idx="298">
                  <c:v>0.01</c:v>
                </c:pt>
                <c:pt idx="299">
                  <c:v>0.01</c:v>
                </c:pt>
                <c:pt idx="300">
                  <c:v>0.01</c:v>
                </c:pt>
                <c:pt idx="301">
                  <c:v>0.01</c:v>
                </c:pt>
                <c:pt idx="302">
                  <c:v>0.01</c:v>
                </c:pt>
                <c:pt idx="303">
                  <c:v>0.01</c:v>
                </c:pt>
                <c:pt idx="304">
                  <c:v>0.01</c:v>
                </c:pt>
                <c:pt idx="305">
                  <c:v>0.01</c:v>
                </c:pt>
                <c:pt idx="306">
                  <c:v>0.01</c:v>
                </c:pt>
                <c:pt idx="307">
                  <c:v>0.01</c:v>
                </c:pt>
                <c:pt idx="308">
                  <c:v>0.01</c:v>
                </c:pt>
                <c:pt idx="309">
                  <c:v>0.01</c:v>
                </c:pt>
                <c:pt idx="310">
                  <c:v>0.01</c:v>
                </c:pt>
                <c:pt idx="311">
                  <c:v>0.01</c:v>
                </c:pt>
                <c:pt idx="312">
                  <c:v>0.01</c:v>
                </c:pt>
                <c:pt idx="313">
                  <c:v>0.01</c:v>
                </c:pt>
                <c:pt idx="314">
                  <c:v>0.01</c:v>
                </c:pt>
                <c:pt idx="315">
                  <c:v>0.01</c:v>
                </c:pt>
                <c:pt idx="316">
                  <c:v>0.01</c:v>
                </c:pt>
                <c:pt idx="317">
                  <c:v>0.01</c:v>
                </c:pt>
                <c:pt idx="318">
                  <c:v>0.01</c:v>
                </c:pt>
                <c:pt idx="319">
                  <c:v>0.01</c:v>
                </c:pt>
                <c:pt idx="320">
                  <c:v>0.01</c:v>
                </c:pt>
                <c:pt idx="321">
                  <c:v>0.01</c:v>
                </c:pt>
                <c:pt idx="322">
                  <c:v>0.01</c:v>
                </c:pt>
                <c:pt idx="323">
                  <c:v>0.01</c:v>
                </c:pt>
                <c:pt idx="324">
                  <c:v>0.01</c:v>
                </c:pt>
                <c:pt idx="325">
                  <c:v>0.01</c:v>
                </c:pt>
                <c:pt idx="326">
                  <c:v>0.01</c:v>
                </c:pt>
                <c:pt idx="327">
                  <c:v>0.01</c:v>
                </c:pt>
                <c:pt idx="328">
                  <c:v>0.01</c:v>
                </c:pt>
                <c:pt idx="329">
                  <c:v>0.01</c:v>
                </c:pt>
                <c:pt idx="330">
                  <c:v>0.01</c:v>
                </c:pt>
                <c:pt idx="331">
                  <c:v>0.01</c:v>
                </c:pt>
                <c:pt idx="332">
                  <c:v>0.01</c:v>
                </c:pt>
                <c:pt idx="333">
                  <c:v>0.01</c:v>
                </c:pt>
                <c:pt idx="334">
                  <c:v>0.01</c:v>
                </c:pt>
                <c:pt idx="33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DAF3-43F0-8F9E-39E84BD1C969}"/>
              </c:ext>
            </c:extLst>
          </c:dPt>
          <c:dPt>
            <c:idx val="211"/>
            <c:invertIfNegative val="1"/>
            <c:bubble3D val="0"/>
            <c:spPr>
              <a:solidFill>
                <a:srgbClr val="AEABAB"/>
              </a:solidFill>
            </c:spPr>
            <c:extLst>
              <c:ext xmlns:c16="http://schemas.microsoft.com/office/drawing/2014/chart" uri="{C3380CC4-5D6E-409C-BE32-E72D297353CC}">
                <c16:uniqueId val="{000001A9-DAF3-43F0-8F9E-39E84BD1C969}"/>
              </c:ext>
            </c:extLst>
          </c:dPt>
          <c:dPt>
            <c:idx val="212"/>
            <c:invertIfNegative val="1"/>
            <c:bubble3D val="0"/>
            <c:spPr>
              <a:solidFill>
                <a:srgbClr val="AEABAB"/>
              </a:solidFill>
            </c:spPr>
            <c:extLst>
              <c:ext xmlns:c16="http://schemas.microsoft.com/office/drawing/2014/chart" uri="{C3380CC4-5D6E-409C-BE32-E72D297353CC}">
                <c16:uniqueId val="{000001AB-DAF3-43F0-8F9E-39E84BD1C969}"/>
              </c:ext>
            </c:extLst>
          </c:dPt>
          <c:dPt>
            <c:idx val="213"/>
            <c:invertIfNegative val="1"/>
            <c:bubble3D val="0"/>
            <c:spPr>
              <a:solidFill>
                <a:srgbClr val="AEABAB"/>
              </a:solidFill>
            </c:spPr>
            <c:extLst>
              <c:ext xmlns:c16="http://schemas.microsoft.com/office/drawing/2014/chart" uri="{C3380CC4-5D6E-409C-BE32-E72D297353CC}">
                <c16:uniqueId val="{000001AD-DAF3-43F0-8F9E-39E84BD1C969}"/>
              </c:ext>
            </c:extLst>
          </c:dPt>
          <c:dPt>
            <c:idx val="214"/>
            <c:invertIfNegative val="1"/>
            <c:bubble3D val="0"/>
            <c:spPr>
              <a:solidFill>
                <a:srgbClr val="AEABAB"/>
              </a:solidFill>
            </c:spPr>
            <c:extLst>
              <c:ext xmlns:c16="http://schemas.microsoft.com/office/drawing/2014/chart" uri="{C3380CC4-5D6E-409C-BE32-E72D297353CC}">
                <c16:uniqueId val="{000001AF-DAF3-43F0-8F9E-39E84BD1C969}"/>
              </c:ext>
            </c:extLst>
          </c:dPt>
          <c:dPt>
            <c:idx val="215"/>
            <c:invertIfNegative val="1"/>
            <c:bubble3D val="0"/>
            <c:spPr>
              <a:solidFill>
                <a:srgbClr val="AEABAB"/>
              </a:solidFill>
            </c:spPr>
            <c:extLst>
              <c:ext xmlns:c16="http://schemas.microsoft.com/office/drawing/2014/chart" uri="{C3380CC4-5D6E-409C-BE32-E72D297353CC}">
                <c16:uniqueId val="{000001B1-DAF3-43F0-8F9E-39E84BD1C969}"/>
              </c:ext>
            </c:extLst>
          </c:dPt>
          <c:dPt>
            <c:idx val="216"/>
            <c:invertIfNegative val="1"/>
            <c:bubble3D val="0"/>
            <c:spPr>
              <a:solidFill>
                <a:srgbClr val="AEABAB"/>
              </a:solidFill>
            </c:spPr>
            <c:extLst>
              <c:ext xmlns:c16="http://schemas.microsoft.com/office/drawing/2014/chart" uri="{C3380CC4-5D6E-409C-BE32-E72D297353CC}">
                <c16:uniqueId val="{000001B3-DAF3-43F0-8F9E-39E84BD1C969}"/>
              </c:ext>
            </c:extLst>
          </c:dPt>
          <c:dPt>
            <c:idx val="217"/>
            <c:invertIfNegative val="1"/>
            <c:bubble3D val="0"/>
            <c:spPr>
              <a:solidFill>
                <a:srgbClr val="AEABAB"/>
              </a:solidFill>
            </c:spPr>
            <c:extLst>
              <c:ext xmlns:c16="http://schemas.microsoft.com/office/drawing/2014/chart" uri="{C3380CC4-5D6E-409C-BE32-E72D297353CC}">
                <c16:uniqueId val="{000001B5-DAF3-43F0-8F9E-39E84BD1C969}"/>
              </c:ext>
            </c:extLst>
          </c:dPt>
          <c:dPt>
            <c:idx val="218"/>
            <c:invertIfNegative val="1"/>
            <c:bubble3D val="0"/>
            <c:spPr>
              <a:solidFill>
                <a:srgbClr val="AEABAB"/>
              </a:solidFill>
            </c:spPr>
            <c:extLst>
              <c:ext xmlns:c16="http://schemas.microsoft.com/office/drawing/2014/chart" uri="{C3380CC4-5D6E-409C-BE32-E72D297353CC}">
                <c16:uniqueId val="{000001B7-DAF3-43F0-8F9E-39E84BD1C969}"/>
              </c:ext>
            </c:extLst>
          </c:dPt>
          <c:dPt>
            <c:idx val="219"/>
            <c:invertIfNegative val="1"/>
            <c:bubble3D val="0"/>
            <c:spPr>
              <a:solidFill>
                <a:srgbClr val="AEABAB"/>
              </a:solidFill>
            </c:spPr>
            <c:extLst>
              <c:ext xmlns:c16="http://schemas.microsoft.com/office/drawing/2014/chart" uri="{C3380CC4-5D6E-409C-BE32-E72D297353CC}">
                <c16:uniqueId val="{000001B9-DAF3-43F0-8F9E-39E84BD1C969}"/>
              </c:ext>
            </c:extLst>
          </c:dPt>
          <c:dPt>
            <c:idx val="220"/>
            <c:invertIfNegative val="1"/>
            <c:bubble3D val="0"/>
            <c:spPr>
              <a:solidFill>
                <a:srgbClr val="AEABAB"/>
              </a:solidFill>
            </c:spPr>
            <c:extLst>
              <c:ext xmlns:c16="http://schemas.microsoft.com/office/drawing/2014/chart" uri="{C3380CC4-5D6E-409C-BE32-E72D297353CC}">
                <c16:uniqueId val="{000001BB-DAF3-43F0-8F9E-39E84BD1C969}"/>
              </c:ext>
            </c:extLst>
          </c:dPt>
          <c:dPt>
            <c:idx val="221"/>
            <c:invertIfNegative val="1"/>
            <c:bubble3D val="0"/>
            <c:spPr>
              <a:solidFill>
                <a:srgbClr val="AEABAB"/>
              </a:solidFill>
            </c:spPr>
            <c:extLst>
              <c:ext xmlns:c16="http://schemas.microsoft.com/office/drawing/2014/chart" uri="{C3380CC4-5D6E-409C-BE32-E72D297353CC}">
                <c16:uniqueId val="{000001BD-DAF3-43F0-8F9E-39E84BD1C969}"/>
              </c:ext>
            </c:extLst>
          </c:dPt>
          <c:dPt>
            <c:idx val="222"/>
            <c:invertIfNegative val="1"/>
            <c:bubble3D val="0"/>
            <c:spPr>
              <a:solidFill>
                <a:srgbClr val="AEABAB"/>
              </a:solidFill>
            </c:spPr>
            <c:extLst>
              <c:ext xmlns:c16="http://schemas.microsoft.com/office/drawing/2014/chart" uri="{C3380CC4-5D6E-409C-BE32-E72D297353CC}">
                <c16:uniqueId val="{000001BF-DAF3-43F0-8F9E-39E84BD1C969}"/>
              </c:ext>
            </c:extLst>
          </c:dPt>
          <c:dPt>
            <c:idx val="223"/>
            <c:invertIfNegative val="1"/>
            <c:bubble3D val="0"/>
            <c:spPr>
              <a:solidFill>
                <a:srgbClr val="AEABAB"/>
              </a:solidFill>
            </c:spPr>
            <c:extLst>
              <c:ext xmlns:c16="http://schemas.microsoft.com/office/drawing/2014/chart" uri="{C3380CC4-5D6E-409C-BE32-E72D297353CC}">
                <c16:uniqueId val="{000001C1-DAF3-43F0-8F9E-39E84BD1C969}"/>
              </c:ext>
            </c:extLst>
          </c:dPt>
          <c:dPt>
            <c:idx val="224"/>
            <c:invertIfNegative val="1"/>
            <c:bubble3D val="0"/>
            <c:spPr>
              <a:solidFill>
                <a:srgbClr val="AEABAB"/>
              </a:solidFill>
            </c:spPr>
            <c:extLst>
              <c:ext xmlns:c16="http://schemas.microsoft.com/office/drawing/2014/chart" uri="{C3380CC4-5D6E-409C-BE32-E72D297353CC}">
                <c16:uniqueId val="{000001C3-DAF3-43F0-8F9E-39E84BD1C969}"/>
              </c:ext>
            </c:extLst>
          </c:dPt>
          <c:dPt>
            <c:idx val="225"/>
            <c:invertIfNegative val="1"/>
            <c:bubble3D val="0"/>
            <c:spPr>
              <a:solidFill>
                <a:srgbClr val="AEABAB"/>
              </a:solidFill>
            </c:spPr>
            <c:extLst>
              <c:ext xmlns:c16="http://schemas.microsoft.com/office/drawing/2014/chart" uri="{C3380CC4-5D6E-409C-BE32-E72D297353CC}">
                <c16:uniqueId val="{000001C5-DAF3-43F0-8F9E-39E84BD1C969}"/>
              </c:ext>
            </c:extLst>
          </c:dPt>
          <c:dPt>
            <c:idx val="226"/>
            <c:invertIfNegative val="1"/>
            <c:bubble3D val="0"/>
            <c:spPr>
              <a:solidFill>
                <a:srgbClr val="AEABAB"/>
              </a:solidFill>
            </c:spPr>
            <c:extLst>
              <c:ext xmlns:c16="http://schemas.microsoft.com/office/drawing/2014/chart" uri="{C3380CC4-5D6E-409C-BE32-E72D297353CC}">
                <c16:uniqueId val="{000001C7-DAF3-43F0-8F9E-39E84BD1C969}"/>
              </c:ext>
            </c:extLst>
          </c:dPt>
          <c:dPt>
            <c:idx val="227"/>
            <c:invertIfNegative val="1"/>
            <c:bubble3D val="0"/>
            <c:spPr>
              <a:solidFill>
                <a:srgbClr val="AEABAB"/>
              </a:solidFill>
            </c:spPr>
            <c:extLst>
              <c:ext xmlns:c16="http://schemas.microsoft.com/office/drawing/2014/chart" uri="{C3380CC4-5D6E-409C-BE32-E72D297353CC}">
                <c16:uniqueId val="{000001C9-DAF3-43F0-8F9E-39E84BD1C969}"/>
              </c:ext>
            </c:extLst>
          </c:dPt>
          <c:dPt>
            <c:idx val="228"/>
            <c:invertIfNegative val="1"/>
            <c:bubble3D val="0"/>
            <c:spPr>
              <a:solidFill>
                <a:srgbClr val="AEABAB"/>
              </a:solidFill>
            </c:spPr>
            <c:extLst>
              <c:ext xmlns:c16="http://schemas.microsoft.com/office/drawing/2014/chart" uri="{C3380CC4-5D6E-409C-BE32-E72D297353CC}">
                <c16:uniqueId val="{000001CB-DAF3-43F0-8F9E-39E84BD1C969}"/>
              </c:ext>
            </c:extLst>
          </c:dPt>
          <c:dPt>
            <c:idx val="229"/>
            <c:invertIfNegative val="1"/>
            <c:bubble3D val="0"/>
            <c:spPr>
              <a:solidFill>
                <a:srgbClr val="AEABAB"/>
              </a:solidFill>
            </c:spPr>
            <c:extLst>
              <c:ext xmlns:c16="http://schemas.microsoft.com/office/drawing/2014/chart" uri="{C3380CC4-5D6E-409C-BE32-E72D297353CC}">
                <c16:uniqueId val="{000001CD-DAF3-43F0-8F9E-39E84BD1C969}"/>
              </c:ext>
            </c:extLst>
          </c:dPt>
          <c:dPt>
            <c:idx val="230"/>
            <c:invertIfNegative val="1"/>
            <c:bubble3D val="0"/>
            <c:spPr>
              <a:solidFill>
                <a:srgbClr val="AEABAB"/>
              </a:solidFill>
            </c:spPr>
            <c:extLst>
              <c:ext xmlns:c16="http://schemas.microsoft.com/office/drawing/2014/chart" uri="{C3380CC4-5D6E-409C-BE32-E72D297353CC}">
                <c16:uniqueId val="{000001CF-DAF3-43F0-8F9E-39E84BD1C969}"/>
              </c:ext>
            </c:extLst>
          </c:dPt>
          <c:dPt>
            <c:idx val="231"/>
            <c:invertIfNegative val="1"/>
            <c:bubble3D val="0"/>
            <c:spPr>
              <a:solidFill>
                <a:srgbClr val="AEABAB"/>
              </a:solidFill>
            </c:spPr>
            <c:extLst>
              <c:ext xmlns:c16="http://schemas.microsoft.com/office/drawing/2014/chart" uri="{C3380CC4-5D6E-409C-BE32-E72D297353CC}">
                <c16:uniqueId val="{000001D1-DAF3-43F0-8F9E-39E84BD1C969}"/>
              </c:ext>
            </c:extLst>
          </c:dPt>
          <c:dPt>
            <c:idx val="232"/>
            <c:invertIfNegative val="1"/>
            <c:bubble3D val="0"/>
            <c:spPr>
              <a:solidFill>
                <a:srgbClr val="AEABAB"/>
              </a:solidFill>
            </c:spPr>
            <c:extLst>
              <c:ext xmlns:c16="http://schemas.microsoft.com/office/drawing/2014/chart" uri="{C3380CC4-5D6E-409C-BE32-E72D297353CC}">
                <c16:uniqueId val="{000001D3-DAF3-43F0-8F9E-39E84BD1C969}"/>
              </c:ext>
            </c:extLst>
          </c:dPt>
          <c:dPt>
            <c:idx val="233"/>
            <c:invertIfNegative val="1"/>
            <c:bubble3D val="0"/>
            <c:spPr>
              <a:solidFill>
                <a:srgbClr val="AEABAB"/>
              </a:solidFill>
            </c:spPr>
            <c:extLst>
              <c:ext xmlns:c16="http://schemas.microsoft.com/office/drawing/2014/chart" uri="{C3380CC4-5D6E-409C-BE32-E72D297353CC}">
                <c16:uniqueId val="{000001D5-DAF3-43F0-8F9E-39E84BD1C969}"/>
              </c:ext>
            </c:extLst>
          </c:dPt>
          <c:dPt>
            <c:idx val="234"/>
            <c:invertIfNegative val="1"/>
            <c:bubble3D val="0"/>
            <c:spPr>
              <a:solidFill>
                <a:srgbClr val="AEABAB"/>
              </a:solidFill>
            </c:spPr>
            <c:extLst>
              <c:ext xmlns:c16="http://schemas.microsoft.com/office/drawing/2014/chart" uri="{C3380CC4-5D6E-409C-BE32-E72D297353CC}">
                <c16:uniqueId val="{000001D7-DAF3-43F0-8F9E-39E84BD1C969}"/>
              </c:ext>
            </c:extLst>
          </c:dPt>
          <c:dPt>
            <c:idx val="235"/>
            <c:invertIfNegative val="1"/>
            <c:bubble3D val="0"/>
            <c:spPr>
              <a:solidFill>
                <a:srgbClr val="AEABAB"/>
              </a:solidFill>
            </c:spPr>
            <c:extLst>
              <c:ext xmlns:c16="http://schemas.microsoft.com/office/drawing/2014/chart" uri="{C3380CC4-5D6E-409C-BE32-E72D297353CC}">
                <c16:uniqueId val="{000001D9-DAF3-43F0-8F9E-39E84BD1C969}"/>
              </c:ext>
            </c:extLst>
          </c:dPt>
          <c:dPt>
            <c:idx val="236"/>
            <c:invertIfNegative val="1"/>
            <c:bubble3D val="0"/>
            <c:spPr>
              <a:solidFill>
                <a:srgbClr val="AEABAB"/>
              </a:solidFill>
            </c:spPr>
            <c:extLst>
              <c:ext xmlns:c16="http://schemas.microsoft.com/office/drawing/2014/chart" uri="{C3380CC4-5D6E-409C-BE32-E72D297353CC}">
                <c16:uniqueId val="{000001DB-DAF3-43F0-8F9E-39E84BD1C969}"/>
              </c:ext>
            </c:extLst>
          </c:dPt>
          <c:dPt>
            <c:idx val="237"/>
            <c:invertIfNegative val="1"/>
            <c:bubble3D val="0"/>
            <c:spPr>
              <a:solidFill>
                <a:srgbClr val="AEABAB"/>
              </a:solidFill>
            </c:spPr>
            <c:extLst>
              <c:ext xmlns:c16="http://schemas.microsoft.com/office/drawing/2014/chart" uri="{C3380CC4-5D6E-409C-BE32-E72D297353CC}">
                <c16:uniqueId val="{000001DD-DAF3-43F0-8F9E-39E84BD1C969}"/>
              </c:ext>
            </c:extLst>
          </c:dPt>
          <c:dPt>
            <c:idx val="238"/>
            <c:invertIfNegative val="1"/>
            <c:bubble3D val="0"/>
            <c:spPr>
              <a:solidFill>
                <a:srgbClr val="AEABAB"/>
              </a:solidFill>
            </c:spPr>
            <c:extLst>
              <c:ext xmlns:c16="http://schemas.microsoft.com/office/drawing/2014/chart" uri="{C3380CC4-5D6E-409C-BE32-E72D297353CC}">
                <c16:uniqueId val="{000001DF-DAF3-43F0-8F9E-39E84BD1C969}"/>
              </c:ext>
            </c:extLst>
          </c:dPt>
          <c:dPt>
            <c:idx val="239"/>
            <c:invertIfNegative val="1"/>
            <c:bubble3D val="0"/>
            <c:spPr>
              <a:solidFill>
                <a:srgbClr val="AEABAB"/>
              </a:solidFill>
            </c:spPr>
            <c:extLst>
              <c:ext xmlns:c16="http://schemas.microsoft.com/office/drawing/2014/chart" uri="{C3380CC4-5D6E-409C-BE32-E72D297353CC}">
                <c16:uniqueId val="{000001E1-DAF3-43F0-8F9E-39E84BD1C969}"/>
              </c:ext>
            </c:extLst>
          </c:dPt>
          <c:dPt>
            <c:idx val="240"/>
            <c:invertIfNegative val="1"/>
            <c:bubble3D val="0"/>
            <c:spPr>
              <a:solidFill>
                <a:srgbClr val="AEABAB"/>
              </a:solidFill>
            </c:spPr>
            <c:extLst>
              <c:ext xmlns:c16="http://schemas.microsoft.com/office/drawing/2014/chart" uri="{C3380CC4-5D6E-409C-BE32-E72D297353CC}">
                <c16:uniqueId val="{000001E3-DAF3-43F0-8F9E-39E84BD1C969}"/>
              </c:ext>
            </c:extLst>
          </c:dPt>
          <c:dPt>
            <c:idx val="241"/>
            <c:invertIfNegative val="1"/>
            <c:bubble3D val="0"/>
            <c:spPr>
              <a:solidFill>
                <a:srgbClr val="AEABAB"/>
              </a:solidFill>
            </c:spPr>
            <c:extLst>
              <c:ext xmlns:c16="http://schemas.microsoft.com/office/drawing/2014/chart" uri="{C3380CC4-5D6E-409C-BE32-E72D297353CC}">
                <c16:uniqueId val="{000001E5-DAF3-43F0-8F9E-39E84BD1C969}"/>
              </c:ext>
            </c:extLst>
          </c:dPt>
          <c:dPt>
            <c:idx val="242"/>
            <c:invertIfNegative val="1"/>
            <c:bubble3D val="0"/>
            <c:spPr>
              <a:solidFill>
                <a:srgbClr val="AEABAB"/>
              </a:solidFill>
            </c:spPr>
            <c:extLst>
              <c:ext xmlns:c16="http://schemas.microsoft.com/office/drawing/2014/chart" uri="{C3380CC4-5D6E-409C-BE32-E72D297353CC}">
                <c16:uniqueId val="{000001E7-DAF3-43F0-8F9E-39E84BD1C969}"/>
              </c:ext>
            </c:extLst>
          </c:dPt>
          <c:dPt>
            <c:idx val="243"/>
            <c:invertIfNegative val="1"/>
            <c:bubble3D val="0"/>
            <c:spPr>
              <a:solidFill>
                <a:srgbClr val="AEABAB"/>
              </a:solidFill>
            </c:spPr>
            <c:extLst>
              <c:ext xmlns:c16="http://schemas.microsoft.com/office/drawing/2014/chart" uri="{C3380CC4-5D6E-409C-BE32-E72D297353CC}">
                <c16:uniqueId val="{000001E9-DAF3-43F0-8F9E-39E84BD1C969}"/>
              </c:ext>
            </c:extLst>
          </c:dPt>
          <c:dPt>
            <c:idx val="244"/>
            <c:invertIfNegative val="1"/>
            <c:bubble3D val="0"/>
            <c:spPr>
              <a:solidFill>
                <a:srgbClr val="AEABAB"/>
              </a:solidFill>
            </c:spPr>
            <c:extLst>
              <c:ext xmlns:c16="http://schemas.microsoft.com/office/drawing/2014/chart" uri="{C3380CC4-5D6E-409C-BE32-E72D297353CC}">
                <c16:uniqueId val="{000001EB-DAF3-43F0-8F9E-39E84BD1C969}"/>
              </c:ext>
            </c:extLst>
          </c:dPt>
          <c:dPt>
            <c:idx val="245"/>
            <c:invertIfNegative val="1"/>
            <c:bubble3D val="0"/>
            <c:spPr>
              <a:solidFill>
                <a:srgbClr val="AEABAB"/>
              </a:solidFill>
            </c:spPr>
            <c:extLst>
              <c:ext xmlns:c16="http://schemas.microsoft.com/office/drawing/2014/chart" uri="{C3380CC4-5D6E-409C-BE32-E72D297353CC}">
                <c16:uniqueId val="{000001ED-DAF3-43F0-8F9E-39E84BD1C969}"/>
              </c:ext>
            </c:extLst>
          </c:dPt>
          <c:dPt>
            <c:idx val="246"/>
            <c:invertIfNegative val="1"/>
            <c:bubble3D val="0"/>
            <c:spPr>
              <a:solidFill>
                <a:srgbClr val="AEABAB"/>
              </a:solidFill>
            </c:spPr>
            <c:extLst>
              <c:ext xmlns:c16="http://schemas.microsoft.com/office/drawing/2014/chart" uri="{C3380CC4-5D6E-409C-BE32-E72D297353CC}">
                <c16:uniqueId val="{000001EF-DAF3-43F0-8F9E-39E84BD1C969}"/>
              </c:ext>
            </c:extLst>
          </c:dPt>
          <c:dPt>
            <c:idx val="247"/>
            <c:invertIfNegative val="1"/>
            <c:bubble3D val="0"/>
            <c:spPr>
              <a:solidFill>
                <a:srgbClr val="AEABAB"/>
              </a:solidFill>
            </c:spPr>
            <c:extLst>
              <c:ext xmlns:c16="http://schemas.microsoft.com/office/drawing/2014/chart" uri="{C3380CC4-5D6E-409C-BE32-E72D297353CC}">
                <c16:uniqueId val="{000001F1-DAF3-43F0-8F9E-39E84BD1C969}"/>
              </c:ext>
            </c:extLst>
          </c:dPt>
          <c:dPt>
            <c:idx val="248"/>
            <c:invertIfNegative val="1"/>
            <c:bubble3D val="0"/>
            <c:spPr>
              <a:solidFill>
                <a:srgbClr val="AEABAB"/>
              </a:solidFill>
            </c:spPr>
            <c:extLst>
              <c:ext xmlns:c16="http://schemas.microsoft.com/office/drawing/2014/chart" uri="{C3380CC4-5D6E-409C-BE32-E72D297353CC}">
                <c16:uniqueId val="{000001F3-DAF3-43F0-8F9E-39E84BD1C969}"/>
              </c:ext>
            </c:extLst>
          </c:dPt>
          <c:dPt>
            <c:idx val="249"/>
            <c:invertIfNegative val="1"/>
            <c:bubble3D val="0"/>
            <c:spPr>
              <a:solidFill>
                <a:srgbClr val="AEABAB"/>
              </a:solidFill>
            </c:spPr>
            <c:extLst>
              <c:ext xmlns:c16="http://schemas.microsoft.com/office/drawing/2014/chart" uri="{C3380CC4-5D6E-409C-BE32-E72D297353CC}">
                <c16:uniqueId val="{000001F5-DAF3-43F0-8F9E-39E84BD1C969}"/>
              </c:ext>
            </c:extLst>
          </c:dPt>
          <c:dPt>
            <c:idx val="250"/>
            <c:invertIfNegative val="1"/>
            <c:bubble3D val="0"/>
            <c:spPr>
              <a:solidFill>
                <a:srgbClr val="AEABAB"/>
              </a:solidFill>
            </c:spPr>
            <c:extLst>
              <c:ext xmlns:c16="http://schemas.microsoft.com/office/drawing/2014/chart" uri="{C3380CC4-5D6E-409C-BE32-E72D297353CC}">
                <c16:uniqueId val="{000001F7-DAF3-43F0-8F9E-39E84BD1C969}"/>
              </c:ext>
            </c:extLst>
          </c:dPt>
          <c:dPt>
            <c:idx val="251"/>
            <c:invertIfNegative val="1"/>
            <c:bubble3D val="0"/>
            <c:spPr>
              <a:solidFill>
                <a:srgbClr val="AEABAB"/>
              </a:solidFill>
            </c:spPr>
            <c:extLst>
              <c:ext xmlns:c16="http://schemas.microsoft.com/office/drawing/2014/chart" uri="{C3380CC4-5D6E-409C-BE32-E72D297353CC}">
                <c16:uniqueId val="{000001F9-DAF3-43F0-8F9E-39E84BD1C969}"/>
              </c:ext>
            </c:extLst>
          </c:dPt>
          <c:dPt>
            <c:idx val="252"/>
            <c:invertIfNegative val="1"/>
            <c:bubble3D val="0"/>
            <c:spPr>
              <a:solidFill>
                <a:srgbClr val="AEABAB"/>
              </a:solidFill>
            </c:spPr>
            <c:extLst>
              <c:ext xmlns:c16="http://schemas.microsoft.com/office/drawing/2014/chart" uri="{C3380CC4-5D6E-409C-BE32-E72D297353CC}">
                <c16:uniqueId val="{000001FB-DAF3-43F0-8F9E-39E84BD1C969}"/>
              </c:ext>
            </c:extLst>
          </c:dPt>
          <c:dPt>
            <c:idx val="253"/>
            <c:invertIfNegative val="1"/>
            <c:bubble3D val="0"/>
            <c:spPr>
              <a:solidFill>
                <a:srgbClr val="AEABAB"/>
              </a:solidFill>
            </c:spPr>
            <c:extLst>
              <c:ext xmlns:c16="http://schemas.microsoft.com/office/drawing/2014/chart" uri="{C3380CC4-5D6E-409C-BE32-E72D297353CC}">
                <c16:uniqueId val="{000001FD-DAF3-43F0-8F9E-39E84BD1C969}"/>
              </c:ext>
            </c:extLst>
          </c:dPt>
          <c:dPt>
            <c:idx val="254"/>
            <c:invertIfNegative val="1"/>
            <c:bubble3D val="0"/>
            <c:spPr>
              <a:solidFill>
                <a:srgbClr val="AEABAB"/>
              </a:solidFill>
            </c:spPr>
            <c:extLst>
              <c:ext xmlns:c16="http://schemas.microsoft.com/office/drawing/2014/chart" uri="{C3380CC4-5D6E-409C-BE32-E72D297353CC}">
                <c16:uniqueId val="{000001FF-DAF3-43F0-8F9E-39E84BD1C969}"/>
              </c:ext>
            </c:extLst>
          </c:dPt>
          <c:dPt>
            <c:idx val="255"/>
            <c:invertIfNegative val="1"/>
            <c:bubble3D val="0"/>
            <c:spPr>
              <a:solidFill>
                <a:srgbClr val="AEABAB"/>
              </a:solidFill>
            </c:spPr>
            <c:extLst>
              <c:ext xmlns:c16="http://schemas.microsoft.com/office/drawing/2014/chart" uri="{C3380CC4-5D6E-409C-BE32-E72D297353CC}">
                <c16:uniqueId val="{00000201-DAF3-43F0-8F9E-39E84BD1C969}"/>
              </c:ext>
            </c:extLst>
          </c:dPt>
          <c:dPt>
            <c:idx val="256"/>
            <c:invertIfNegative val="1"/>
            <c:bubble3D val="0"/>
            <c:spPr>
              <a:solidFill>
                <a:srgbClr val="AEABAB"/>
              </a:solidFill>
            </c:spPr>
            <c:extLst>
              <c:ext xmlns:c16="http://schemas.microsoft.com/office/drawing/2014/chart" uri="{C3380CC4-5D6E-409C-BE32-E72D297353CC}">
                <c16:uniqueId val="{00000203-DAF3-43F0-8F9E-39E84BD1C969}"/>
              </c:ext>
            </c:extLst>
          </c:dPt>
          <c:dPt>
            <c:idx val="257"/>
            <c:invertIfNegative val="1"/>
            <c:bubble3D val="0"/>
            <c:spPr>
              <a:solidFill>
                <a:srgbClr val="AEABAB"/>
              </a:solidFill>
            </c:spPr>
            <c:extLst>
              <c:ext xmlns:c16="http://schemas.microsoft.com/office/drawing/2014/chart" uri="{C3380CC4-5D6E-409C-BE32-E72D297353CC}">
                <c16:uniqueId val="{00000205-DAF3-43F0-8F9E-39E84BD1C969}"/>
              </c:ext>
            </c:extLst>
          </c:dPt>
          <c:dPt>
            <c:idx val="258"/>
            <c:invertIfNegative val="1"/>
            <c:bubble3D val="0"/>
            <c:spPr>
              <a:solidFill>
                <a:srgbClr val="AEABAB"/>
              </a:solidFill>
            </c:spPr>
            <c:extLst>
              <c:ext xmlns:c16="http://schemas.microsoft.com/office/drawing/2014/chart" uri="{C3380CC4-5D6E-409C-BE32-E72D297353CC}">
                <c16:uniqueId val="{00000207-DAF3-43F0-8F9E-39E84BD1C969}"/>
              </c:ext>
            </c:extLst>
          </c:dPt>
          <c:dPt>
            <c:idx val="259"/>
            <c:invertIfNegative val="1"/>
            <c:bubble3D val="0"/>
            <c:spPr>
              <a:solidFill>
                <a:srgbClr val="AEABAB"/>
              </a:solidFill>
            </c:spPr>
            <c:extLst>
              <c:ext xmlns:c16="http://schemas.microsoft.com/office/drawing/2014/chart" uri="{C3380CC4-5D6E-409C-BE32-E72D297353CC}">
                <c16:uniqueId val="{00000209-DAF3-43F0-8F9E-39E84BD1C969}"/>
              </c:ext>
            </c:extLst>
          </c:dPt>
          <c:dPt>
            <c:idx val="260"/>
            <c:invertIfNegative val="1"/>
            <c:bubble3D val="0"/>
            <c:spPr>
              <a:solidFill>
                <a:srgbClr val="AEABAB"/>
              </a:solidFill>
            </c:spPr>
            <c:extLst>
              <c:ext xmlns:c16="http://schemas.microsoft.com/office/drawing/2014/chart" uri="{C3380CC4-5D6E-409C-BE32-E72D297353CC}">
                <c16:uniqueId val="{0000020B-DAF3-43F0-8F9E-39E84BD1C969}"/>
              </c:ext>
            </c:extLst>
          </c:dPt>
          <c:dPt>
            <c:idx val="261"/>
            <c:invertIfNegative val="1"/>
            <c:bubble3D val="0"/>
            <c:spPr>
              <a:solidFill>
                <a:srgbClr val="AEABAB"/>
              </a:solidFill>
            </c:spPr>
            <c:extLst>
              <c:ext xmlns:c16="http://schemas.microsoft.com/office/drawing/2014/chart" uri="{C3380CC4-5D6E-409C-BE32-E72D297353CC}">
                <c16:uniqueId val="{0000020D-DAF3-43F0-8F9E-39E84BD1C969}"/>
              </c:ext>
            </c:extLst>
          </c:dPt>
          <c:dPt>
            <c:idx val="262"/>
            <c:invertIfNegative val="1"/>
            <c:bubble3D val="0"/>
            <c:spPr>
              <a:solidFill>
                <a:srgbClr val="AEABAB"/>
              </a:solidFill>
            </c:spPr>
            <c:extLst>
              <c:ext xmlns:c16="http://schemas.microsoft.com/office/drawing/2014/chart" uri="{C3380CC4-5D6E-409C-BE32-E72D297353CC}">
                <c16:uniqueId val="{0000020F-DAF3-43F0-8F9E-39E84BD1C969}"/>
              </c:ext>
            </c:extLst>
          </c:dPt>
          <c:dPt>
            <c:idx val="263"/>
            <c:invertIfNegative val="1"/>
            <c:bubble3D val="0"/>
            <c:spPr>
              <a:solidFill>
                <a:srgbClr val="AEABAB"/>
              </a:solidFill>
            </c:spPr>
            <c:extLst>
              <c:ext xmlns:c16="http://schemas.microsoft.com/office/drawing/2014/chart" uri="{C3380CC4-5D6E-409C-BE32-E72D297353CC}">
                <c16:uniqueId val="{00000211-DAF3-43F0-8F9E-39E84BD1C969}"/>
              </c:ext>
            </c:extLst>
          </c:dPt>
          <c:dPt>
            <c:idx val="264"/>
            <c:invertIfNegative val="1"/>
            <c:bubble3D val="0"/>
            <c:spPr>
              <a:solidFill>
                <a:srgbClr val="AEABAB"/>
              </a:solidFill>
            </c:spPr>
            <c:extLst>
              <c:ext xmlns:c16="http://schemas.microsoft.com/office/drawing/2014/chart" uri="{C3380CC4-5D6E-409C-BE32-E72D297353CC}">
                <c16:uniqueId val="{00000213-DAF3-43F0-8F9E-39E84BD1C969}"/>
              </c:ext>
            </c:extLst>
          </c:dPt>
          <c:dPt>
            <c:idx val="265"/>
            <c:invertIfNegative val="1"/>
            <c:bubble3D val="0"/>
            <c:spPr>
              <a:solidFill>
                <a:srgbClr val="AEABAB"/>
              </a:solidFill>
            </c:spPr>
            <c:extLst>
              <c:ext xmlns:c16="http://schemas.microsoft.com/office/drawing/2014/chart" uri="{C3380CC4-5D6E-409C-BE32-E72D297353CC}">
                <c16:uniqueId val="{00000215-DAF3-43F0-8F9E-39E84BD1C969}"/>
              </c:ext>
            </c:extLst>
          </c:dPt>
          <c:dPt>
            <c:idx val="266"/>
            <c:invertIfNegative val="1"/>
            <c:bubble3D val="0"/>
            <c:spPr>
              <a:solidFill>
                <a:srgbClr val="AEABAB"/>
              </a:solidFill>
            </c:spPr>
            <c:extLst>
              <c:ext xmlns:c16="http://schemas.microsoft.com/office/drawing/2014/chart" uri="{C3380CC4-5D6E-409C-BE32-E72D297353CC}">
                <c16:uniqueId val="{00000217-DAF3-43F0-8F9E-39E84BD1C969}"/>
              </c:ext>
            </c:extLst>
          </c:dPt>
          <c:dPt>
            <c:idx val="267"/>
            <c:invertIfNegative val="1"/>
            <c:bubble3D val="0"/>
            <c:spPr>
              <a:solidFill>
                <a:srgbClr val="AEABAB"/>
              </a:solidFill>
            </c:spPr>
            <c:extLst>
              <c:ext xmlns:c16="http://schemas.microsoft.com/office/drawing/2014/chart" uri="{C3380CC4-5D6E-409C-BE32-E72D297353CC}">
                <c16:uniqueId val="{00000219-DAF3-43F0-8F9E-39E84BD1C969}"/>
              </c:ext>
            </c:extLst>
          </c:dPt>
          <c:dPt>
            <c:idx val="268"/>
            <c:invertIfNegative val="1"/>
            <c:bubble3D val="0"/>
            <c:spPr>
              <a:solidFill>
                <a:srgbClr val="AEABAB"/>
              </a:solidFill>
            </c:spPr>
            <c:extLst>
              <c:ext xmlns:c16="http://schemas.microsoft.com/office/drawing/2014/chart" uri="{C3380CC4-5D6E-409C-BE32-E72D297353CC}">
                <c16:uniqueId val="{0000021B-DAF3-43F0-8F9E-39E84BD1C969}"/>
              </c:ext>
            </c:extLst>
          </c:dPt>
          <c:dPt>
            <c:idx val="269"/>
            <c:invertIfNegative val="1"/>
            <c:bubble3D val="0"/>
            <c:spPr>
              <a:solidFill>
                <a:srgbClr val="AEABAB"/>
              </a:solidFill>
            </c:spPr>
            <c:extLst>
              <c:ext xmlns:c16="http://schemas.microsoft.com/office/drawing/2014/chart" uri="{C3380CC4-5D6E-409C-BE32-E72D297353CC}">
                <c16:uniqueId val="{0000021D-DAF3-43F0-8F9E-39E84BD1C969}"/>
              </c:ext>
            </c:extLst>
          </c:dPt>
          <c:dPt>
            <c:idx val="270"/>
            <c:invertIfNegative val="1"/>
            <c:bubble3D val="0"/>
            <c:spPr>
              <a:solidFill>
                <a:srgbClr val="AEABAB"/>
              </a:solidFill>
            </c:spPr>
            <c:extLst>
              <c:ext xmlns:c16="http://schemas.microsoft.com/office/drawing/2014/chart" uri="{C3380CC4-5D6E-409C-BE32-E72D297353CC}">
                <c16:uniqueId val="{0000021F-DAF3-43F0-8F9E-39E84BD1C969}"/>
              </c:ext>
            </c:extLst>
          </c:dPt>
          <c:dPt>
            <c:idx val="271"/>
            <c:invertIfNegative val="1"/>
            <c:bubble3D val="0"/>
            <c:spPr>
              <a:solidFill>
                <a:srgbClr val="AEABAB"/>
              </a:solidFill>
            </c:spPr>
            <c:extLst>
              <c:ext xmlns:c16="http://schemas.microsoft.com/office/drawing/2014/chart" uri="{C3380CC4-5D6E-409C-BE32-E72D297353CC}">
                <c16:uniqueId val="{00000221-DAF3-43F0-8F9E-39E84BD1C969}"/>
              </c:ext>
            </c:extLst>
          </c:dPt>
          <c:dPt>
            <c:idx val="272"/>
            <c:invertIfNegative val="1"/>
            <c:bubble3D val="0"/>
            <c:spPr>
              <a:solidFill>
                <a:srgbClr val="AEABAB"/>
              </a:solidFill>
            </c:spPr>
            <c:extLst>
              <c:ext xmlns:c16="http://schemas.microsoft.com/office/drawing/2014/chart" uri="{C3380CC4-5D6E-409C-BE32-E72D297353CC}">
                <c16:uniqueId val="{00000223-DAF3-43F0-8F9E-39E84BD1C969}"/>
              </c:ext>
            </c:extLst>
          </c:dPt>
          <c:dPt>
            <c:idx val="273"/>
            <c:invertIfNegative val="1"/>
            <c:bubble3D val="0"/>
            <c:spPr>
              <a:solidFill>
                <a:srgbClr val="AEABAB"/>
              </a:solidFill>
            </c:spPr>
            <c:extLst>
              <c:ext xmlns:c16="http://schemas.microsoft.com/office/drawing/2014/chart" uri="{C3380CC4-5D6E-409C-BE32-E72D297353CC}">
                <c16:uniqueId val="{00000225-DAF3-43F0-8F9E-39E84BD1C969}"/>
              </c:ext>
            </c:extLst>
          </c:dPt>
          <c:dPt>
            <c:idx val="274"/>
            <c:invertIfNegative val="1"/>
            <c:bubble3D val="0"/>
            <c:spPr>
              <a:solidFill>
                <a:srgbClr val="AEABAB"/>
              </a:solidFill>
            </c:spPr>
            <c:extLst>
              <c:ext xmlns:c16="http://schemas.microsoft.com/office/drawing/2014/chart" uri="{C3380CC4-5D6E-409C-BE32-E72D297353CC}">
                <c16:uniqueId val="{00000227-DAF3-43F0-8F9E-39E84BD1C969}"/>
              </c:ext>
            </c:extLst>
          </c:dPt>
          <c:dPt>
            <c:idx val="275"/>
            <c:invertIfNegative val="1"/>
            <c:bubble3D val="0"/>
            <c:spPr>
              <a:solidFill>
                <a:srgbClr val="AEABAB"/>
              </a:solidFill>
            </c:spPr>
            <c:extLst>
              <c:ext xmlns:c16="http://schemas.microsoft.com/office/drawing/2014/chart" uri="{C3380CC4-5D6E-409C-BE32-E72D297353CC}">
                <c16:uniqueId val="{00000229-DAF3-43F0-8F9E-39E84BD1C969}"/>
              </c:ext>
            </c:extLst>
          </c:dPt>
          <c:dPt>
            <c:idx val="276"/>
            <c:invertIfNegative val="1"/>
            <c:bubble3D val="0"/>
            <c:spPr>
              <a:solidFill>
                <a:srgbClr val="AEABAB"/>
              </a:solidFill>
            </c:spPr>
            <c:extLst>
              <c:ext xmlns:c16="http://schemas.microsoft.com/office/drawing/2014/chart" uri="{C3380CC4-5D6E-409C-BE32-E72D297353CC}">
                <c16:uniqueId val="{0000022B-DAF3-43F0-8F9E-39E84BD1C969}"/>
              </c:ext>
            </c:extLst>
          </c:dPt>
          <c:dPt>
            <c:idx val="277"/>
            <c:invertIfNegative val="1"/>
            <c:bubble3D val="0"/>
            <c:spPr>
              <a:solidFill>
                <a:srgbClr val="AEABAB"/>
              </a:solidFill>
            </c:spPr>
            <c:extLst>
              <c:ext xmlns:c16="http://schemas.microsoft.com/office/drawing/2014/chart" uri="{C3380CC4-5D6E-409C-BE32-E72D297353CC}">
                <c16:uniqueId val="{0000022D-DAF3-43F0-8F9E-39E84BD1C969}"/>
              </c:ext>
            </c:extLst>
          </c:dPt>
          <c:dPt>
            <c:idx val="278"/>
            <c:invertIfNegative val="1"/>
            <c:bubble3D val="0"/>
            <c:spPr>
              <a:solidFill>
                <a:srgbClr val="AEABAB"/>
              </a:solidFill>
            </c:spPr>
            <c:extLst>
              <c:ext xmlns:c16="http://schemas.microsoft.com/office/drawing/2014/chart" uri="{C3380CC4-5D6E-409C-BE32-E72D297353CC}">
                <c16:uniqueId val="{0000022F-DAF3-43F0-8F9E-39E84BD1C969}"/>
              </c:ext>
            </c:extLst>
          </c:dPt>
          <c:dPt>
            <c:idx val="279"/>
            <c:invertIfNegative val="1"/>
            <c:bubble3D val="0"/>
            <c:spPr>
              <a:solidFill>
                <a:srgbClr val="AEABAB"/>
              </a:solidFill>
            </c:spPr>
            <c:extLst>
              <c:ext xmlns:c16="http://schemas.microsoft.com/office/drawing/2014/chart" uri="{C3380CC4-5D6E-409C-BE32-E72D297353CC}">
                <c16:uniqueId val="{00000231-DAF3-43F0-8F9E-39E84BD1C969}"/>
              </c:ext>
            </c:extLst>
          </c:dPt>
          <c:dPt>
            <c:idx val="280"/>
            <c:invertIfNegative val="1"/>
            <c:bubble3D val="0"/>
            <c:spPr>
              <a:solidFill>
                <a:srgbClr val="AEABAB"/>
              </a:solidFill>
            </c:spPr>
            <c:extLst>
              <c:ext xmlns:c16="http://schemas.microsoft.com/office/drawing/2014/chart" uri="{C3380CC4-5D6E-409C-BE32-E72D297353CC}">
                <c16:uniqueId val="{00000233-DAF3-43F0-8F9E-39E84BD1C969}"/>
              </c:ext>
            </c:extLst>
          </c:dPt>
          <c:dPt>
            <c:idx val="281"/>
            <c:invertIfNegative val="1"/>
            <c:bubble3D val="0"/>
            <c:spPr>
              <a:solidFill>
                <a:srgbClr val="AEABAB"/>
              </a:solidFill>
            </c:spPr>
            <c:extLst>
              <c:ext xmlns:c16="http://schemas.microsoft.com/office/drawing/2014/chart" uri="{C3380CC4-5D6E-409C-BE32-E72D297353CC}">
                <c16:uniqueId val="{00000235-DAF3-43F0-8F9E-39E84BD1C969}"/>
              </c:ext>
            </c:extLst>
          </c:dPt>
          <c:dPt>
            <c:idx val="282"/>
            <c:invertIfNegative val="1"/>
            <c:bubble3D val="0"/>
            <c:spPr>
              <a:solidFill>
                <a:srgbClr val="AEABAB"/>
              </a:solidFill>
            </c:spPr>
            <c:extLst>
              <c:ext xmlns:c16="http://schemas.microsoft.com/office/drawing/2014/chart" uri="{C3380CC4-5D6E-409C-BE32-E72D297353CC}">
                <c16:uniqueId val="{00000237-DAF3-43F0-8F9E-39E84BD1C969}"/>
              </c:ext>
            </c:extLst>
          </c:dPt>
          <c:dPt>
            <c:idx val="283"/>
            <c:invertIfNegative val="1"/>
            <c:bubble3D val="0"/>
            <c:spPr>
              <a:solidFill>
                <a:srgbClr val="AEABAB"/>
              </a:solidFill>
            </c:spPr>
            <c:extLst>
              <c:ext xmlns:c16="http://schemas.microsoft.com/office/drawing/2014/chart" uri="{C3380CC4-5D6E-409C-BE32-E72D297353CC}">
                <c16:uniqueId val="{00000239-DAF3-43F0-8F9E-39E84BD1C969}"/>
              </c:ext>
            </c:extLst>
          </c:dPt>
          <c:dPt>
            <c:idx val="284"/>
            <c:invertIfNegative val="1"/>
            <c:bubble3D val="0"/>
            <c:spPr>
              <a:solidFill>
                <a:srgbClr val="AEABAB"/>
              </a:solidFill>
            </c:spPr>
            <c:extLst>
              <c:ext xmlns:c16="http://schemas.microsoft.com/office/drawing/2014/chart" uri="{C3380CC4-5D6E-409C-BE32-E72D297353CC}">
                <c16:uniqueId val="{0000023B-DAF3-43F0-8F9E-39E84BD1C969}"/>
              </c:ext>
            </c:extLst>
          </c:dPt>
          <c:dPt>
            <c:idx val="285"/>
            <c:invertIfNegative val="1"/>
            <c:bubble3D val="0"/>
            <c:spPr>
              <a:solidFill>
                <a:srgbClr val="AEABAB"/>
              </a:solidFill>
            </c:spPr>
            <c:extLst>
              <c:ext xmlns:c16="http://schemas.microsoft.com/office/drawing/2014/chart" uri="{C3380CC4-5D6E-409C-BE32-E72D297353CC}">
                <c16:uniqueId val="{0000023D-DAF3-43F0-8F9E-39E84BD1C969}"/>
              </c:ext>
            </c:extLst>
          </c:dPt>
          <c:dPt>
            <c:idx val="286"/>
            <c:invertIfNegative val="1"/>
            <c:bubble3D val="0"/>
            <c:spPr>
              <a:solidFill>
                <a:srgbClr val="AEABAB"/>
              </a:solidFill>
            </c:spPr>
            <c:extLst>
              <c:ext xmlns:c16="http://schemas.microsoft.com/office/drawing/2014/chart" uri="{C3380CC4-5D6E-409C-BE32-E72D297353CC}">
                <c16:uniqueId val="{0000023F-DAF3-43F0-8F9E-39E84BD1C969}"/>
              </c:ext>
            </c:extLst>
          </c:dPt>
          <c:dPt>
            <c:idx val="287"/>
            <c:invertIfNegative val="1"/>
            <c:bubble3D val="0"/>
            <c:spPr>
              <a:solidFill>
                <a:srgbClr val="AEABAB"/>
              </a:solidFill>
            </c:spPr>
            <c:extLst>
              <c:ext xmlns:c16="http://schemas.microsoft.com/office/drawing/2014/chart" uri="{C3380CC4-5D6E-409C-BE32-E72D297353CC}">
                <c16:uniqueId val="{00000241-DAF3-43F0-8F9E-39E84BD1C969}"/>
              </c:ext>
            </c:extLst>
          </c:dPt>
          <c:dPt>
            <c:idx val="288"/>
            <c:invertIfNegative val="1"/>
            <c:bubble3D val="0"/>
            <c:spPr>
              <a:solidFill>
                <a:srgbClr val="AEABAB"/>
              </a:solidFill>
            </c:spPr>
            <c:extLst>
              <c:ext xmlns:c16="http://schemas.microsoft.com/office/drawing/2014/chart" uri="{C3380CC4-5D6E-409C-BE32-E72D297353CC}">
                <c16:uniqueId val="{00000243-DAF3-43F0-8F9E-39E84BD1C969}"/>
              </c:ext>
            </c:extLst>
          </c:dPt>
          <c:dPt>
            <c:idx val="289"/>
            <c:invertIfNegative val="1"/>
            <c:bubble3D val="0"/>
            <c:spPr>
              <a:solidFill>
                <a:srgbClr val="AEABAB"/>
              </a:solidFill>
            </c:spPr>
            <c:extLst>
              <c:ext xmlns:c16="http://schemas.microsoft.com/office/drawing/2014/chart" uri="{C3380CC4-5D6E-409C-BE32-E72D297353CC}">
                <c16:uniqueId val="{00000245-DAF3-43F0-8F9E-39E84BD1C969}"/>
              </c:ext>
            </c:extLst>
          </c:dPt>
          <c:dPt>
            <c:idx val="290"/>
            <c:invertIfNegative val="1"/>
            <c:bubble3D val="0"/>
            <c:spPr>
              <a:solidFill>
                <a:srgbClr val="AEABAB"/>
              </a:solidFill>
            </c:spPr>
            <c:extLst>
              <c:ext xmlns:c16="http://schemas.microsoft.com/office/drawing/2014/chart" uri="{C3380CC4-5D6E-409C-BE32-E72D297353CC}">
                <c16:uniqueId val="{00000247-DAF3-43F0-8F9E-39E84BD1C969}"/>
              </c:ext>
            </c:extLst>
          </c:dPt>
          <c:dPt>
            <c:idx val="291"/>
            <c:invertIfNegative val="1"/>
            <c:bubble3D val="0"/>
            <c:spPr>
              <a:solidFill>
                <a:srgbClr val="AEABAB"/>
              </a:solidFill>
            </c:spPr>
            <c:extLst>
              <c:ext xmlns:c16="http://schemas.microsoft.com/office/drawing/2014/chart" uri="{C3380CC4-5D6E-409C-BE32-E72D297353CC}">
                <c16:uniqueId val="{00000249-DAF3-43F0-8F9E-39E84BD1C969}"/>
              </c:ext>
            </c:extLst>
          </c:dPt>
          <c:dPt>
            <c:idx val="292"/>
            <c:invertIfNegative val="1"/>
            <c:bubble3D val="0"/>
            <c:spPr>
              <a:solidFill>
                <a:srgbClr val="AEABAB"/>
              </a:solidFill>
            </c:spPr>
            <c:extLst>
              <c:ext xmlns:c16="http://schemas.microsoft.com/office/drawing/2014/chart" uri="{C3380CC4-5D6E-409C-BE32-E72D297353CC}">
                <c16:uniqueId val="{0000024B-DAF3-43F0-8F9E-39E84BD1C969}"/>
              </c:ext>
            </c:extLst>
          </c:dPt>
          <c:dPt>
            <c:idx val="293"/>
            <c:invertIfNegative val="1"/>
            <c:bubble3D val="0"/>
            <c:spPr>
              <a:solidFill>
                <a:srgbClr val="AEABAB"/>
              </a:solidFill>
            </c:spPr>
            <c:extLst>
              <c:ext xmlns:c16="http://schemas.microsoft.com/office/drawing/2014/chart" uri="{C3380CC4-5D6E-409C-BE32-E72D297353CC}">
                <c16:uniqueId val="{0000024D-DAF3-43F0-8F9E-39E84BD1C969}"/>
              </c:ext>
            </c:extLst>
          </c:dPt>
          <c:dPt>
            <c:idx val="294"/>
            <c:invertIfNegative val="1"/>
            <c:bubble3D val="0"/>
            <c:spPr>
              <a:solidFill>
                <a:srgbClr val="AEABAB"/>
              </a:solidFill>
            </c:spPr>
            <c:extLst>
              <c:ext xmlns:c16="http://schemas.microsoft.com/office/drawing/2014/chart" uri="{C3380CC4-5D6E-409C-BE32-E72D297353CC}">
                <c16:uniqueId val="{0000024F-DAF3-43F0-8F9E-39E84BD1C969}"/>
              </c:ext>
            </c:extLst>
          </c:dPt>
          <c:dPt>
            <c:idx val="295"/>
            <c:invertIfNegative val="1"/>
            <c:bubble3D val="0"/>
            <c:spPr>
              <a:solidFill>
                <a:srgbClr val="AEABAB"/>
              </a:solidFill>
            </c:spPr>
            <c:extLst>
              <c:ext xmlns:c16="http://schemas.microsoft.com/office/drawing/2014/chart" uri="{C3380CC4-5D6E-409C-BE32-E72D297353CC}">
                <c16:uniqueId val="{00000251-DAF3-43F0-8F9E-39E84BD1C969}"/>
              </c:ext>
            </c:extLst>
          </c:dPt>
          <c:dPt>
            <c:idx val="296"/>
            <c:invertIfNegative val="1"/>
            <c:bubble3D val="0"/>
            <c:spPr>
              <a:solidFill>
                <a:srgbClr val="AEABAB"/>
              </a:solidFill>
            </c:spPr>
            <c:extLst>
              <c:ext xmlns:c16="http://schemas.microsoft.com/office/drawing/2014/chart" uri="{C3380CC4-5D6E-409C-BE32-E72D297353CC}">
                <c16:uniqueId val="{00000253-DAF3-43F0-8F9E-39E84BD1C969}"/>
              </c:ext>
            </c:extLst>
          </c:dPt>
          <c:dPt>
            <c:idx val="297"/>
            <c:invertIfNegative val="1"/>
            <c:bubble3D val="0"/>
            <c:spPr>
              <a:solidFill>
                <a:srgbClr val="AEABAB"/>
              </a:solidFill>
            </c:spPr>
            <c:extLst>
              <c:ext xmlns:c16="http://schemas.microsoft.com/office/drawing/2014/chart" uri="{C3380CC4-5D6E-409C-BE32-E72D297353CC}">
                <c16:uniqueId val="{00000255-DAF3-43F0-8F9E-39E84BD1C969}"/>
              </c:ext>
            </c:extLst>
          </c:dPt>
          <c:dPt>
            <c:idx val="298"/>
            <c:invertIfNegative val="1"/>
            <c:bubble3D val="0"/>
            <c:spPr>
              <a:solidFill>
                <a:srgbClr val="AEABAB"/>
              </a:solidFill>
            </c:spPr>
            <c:extLst>
              <c:ext xmlns:c16="http://schemas.microsoft.com/office/drawing/2014/chart" uri="{C3380CC4-5D6E-409C-BE32-E72D297353CC}">
                <c16:uniqueId val="{00000257-DAF3-43F0-8F9E-39E84BD1C969}"/>
              </c:ext>
            </c:extLst>
          </c:dPt>
          <c:dPt>
            <c:idx val="299"/>
            <c:invertIfNegative val="1"/>
            <c:bubble3D val="0"/>
            <c:spPr>
              <a:solidFill>
                <a:srgbClr val="AEABAB"/>
              </a:solidFill>
            </c:spPr>
            <c:extLst>
              <c:ext xmlns:c16="http://schemas.microsoft.com/office/drawing/2014/chart" uri="{C3380CC4-5D6E-409C-BE32-E72D297353CC}">
                <c16:uniqueId val="{00000259-DAF3-43F0-8F9E-39E84BD1C969}"/>
              </c:ext>
            </c:extLst>
          </c:dPt>
          <c:dPt>
            <c:idx val="300"/>
            <c:invertIfNegative val="1"/>
            <c:bubble3D val="0"/>
            <c:spPr>
              <a:solidFill>
                <a:srgbClr val="AEABAB"/>
              </a:solidFill>
            </c:spPr>
            <c:extLst>
              <c:ext xmlns:c16="http://schemas.microsoft.com/office/drawing/2014/chart" uri="{C3380CC4-5D6E-409C-BE32-E72D297353CC}">
                <c16:uniqueId val="{0000025B-DAF3-43F0-8F9E-39E84BD1C969}"/>
              </c:ext>
            </c:extLst>
          </c:dPt>
          <c:dPt>
            <c:idx val="301"/>
            <c:invertIfNegative val="1"/>
            <c:bubble3D val="0"/>
            <c:spPr>
              <a:solidFill>
                <a:srgbClr val="AEABAB"/>
              </a:solidFill>
            </c:spPr>
            <c:extLst>
              <c:ext xmlns:c16="http://schemas.microsoft.com/office/drawing/2014/chart" uri="{C3380CC4-5D6E-409C-BE32-E72D297353CC}">
                <c16:uniqueId val="{0000025D-DAF3-43F0-8F9E-39E84BD1C969}"/>
              </c:ext>
            </c:extLst>
          </c:dPt>
          <c:dPt>
            <c:idx val="302"/>
            <c:invertIfNegative val="1"/>
            <c:bubble3D val="0"/>
            <c:spPr>
              <a:solidFill>
                <a:srgbClr val="AEABAB"/>
              </a:solidFill>
            </c:spPr>
            <c:extLst>
              <c:ext xmlns:c16="http://schemas.microsoft.com/office/drawing/2014/chart" uri="{C3380CC4-5D6E-409C-BE32-E72D297353CC}">
                <c16:uniqueId val="{0000025F-DAF3-43F0-8F9E-39E84BD1C969}"/>
              </c:ext>
            </c:extLst>
          </c:dPt>
          <c:dPt>
            <c:idx val="303"/>
            <c:invertIfNegative val="1"/>
            <c:bubble3D val="0"/>
            <c:spPr>
              <a:solidFill>
                <a:srgbClr val="AEABAB"/>
              </a:solidFill>
            </c:spPr>
            <c:extLst>
              <c:ext xmlns:c16="http://schemas.microsoft.com/office/drawing/2014/chart" uri="{C3380CC4-5D6E-409C-BE32-E72D297353CC}">
                <c16:uniqueId val="{00000261-DAF3-43F0-8F9E-39E84BD1C969}"/>
              </c:ext>
            </c:extLst>
          </c:dPt>
          <c:dPt>
            <c:idx val="304"/>
            <c:invertIfNegative val="1"/>
            <c:bubble3D val="0"/>
            <c:spPr>
              <a:solidFill>
                <a:srgbClr val="AEABAB"/>
              </a:solidFill>
            </c:spPr>
            <c:extLst>
              <c:ext xmlns:c16="http://schemas.microsoft.com/office/drawing/2014/chart" uri="{C3380CC4-5D6E-409C-BE32-E72D297353CC}">
                <c16:uniqueId val="{00000263-DAF3-43F0-8F9E-39E84BD1C969}"/>
              </c:ext>
            </c:extLst>
          </c:dPt>
          <c:dPt>
            <c:idx val="305"/>
            <c:invertIfNegative val="1"/>
            <c:bubble3D val="0"/>
            <c:spPr>
              <a:solidFill>
                <a:srgbClr val="AEABAB"/>
              </a:solidFill>
            </c:spPr>
            <c:extLst>
              <c:ext xmlns:c16="http://schemas.microsoft.com/office/drawing/2014/chart" uri="{C3380CC4-5D6E-409C-BE32-E72D297353CC}">
                <c16:uniqueId val="{00000265-DAF3-43F0-8F9E-39E84BD1C969}"/>
              </c:ext>
            </c:extLst>
          </c:dPt>
          <c:dPt>
            <c:idx val="306"/>
            <c:invertIfNegative val="1"/>
            <c:bubble3D val="0"/>
            <c:spPr>
              <a:solidFill>
                <a:srgbClr val="AEABAB"/>
              </a:solidFill>
            </c:spPr>
            <c:extLst>
              <c:ext xmlns:c16="http://schemas.microsoft.com/office/drawing/2014/chart" uri="{C3380CC4-5D6E-409C-BE32-E72D297353CC}">
                <c16:uniqueId val="{00000267-DAF3-43F0-8F9E-39E84BD1C969}"/>
              </c:ext>
            </c:extLst>
          </c:dPt>
          <c:dPt>
            <c:idx val="307"/>
            <c:invertIfNegative val="1"/>
            <c:bubble3D val="0"/>
            <c:spPr>
              <a:solidFill>
                <a:srgbClr val="AEABAB"/>
              </a:solidFill>
            </c:spPr>
            <c:extLst>
              <c:ext xmlns:c16="http://schemas.microsoft.com/office/drawing/2014/chart" uri="{C3380CC4-5D6E-409C-BE32-E72D297353CC}">
                <c16:uniqueId val="{00000269-DAF3-43F0-8F9E-39E84BD1C969}"/>
              </c:ext>
            </c:extLst>
          </c:dPt>
          <c:dPt>
            <c:idx val="308"/>
            <c:invertIfNegative val="1"/>
            <c:bubble3D val="0"/>
            <c:spPr>
              <a:solidFill>
                <a:srgbClr val="AEABAB"/>
              </a:solidFill>
            </c:spPr>
            <c:extLst>
              <c:ext xmlns:c16="http://schemas.microsoft.com/office/drawing/2014/chart" uri="{C3380CC4-5D6E-409C-BE32-E72D297353CC}">
                <c16:uniqueId val="{0000026B-DAF3-43F0-8F9E-39E84BD1C969}"/>
              </c:ext>
            </c:extLst>
          </c:dPt>
          <c:dPt>
            <c:idx val="309"/>
            <c:invertIfNegative val="1"/>
            <c:bubble3D val="0"/>
            <c:spPr>
              <a:solidFill>
                <a:srgbClr val="AEABAB"/>
              </a:solidFill>
            </c:spPr>
            <c:extLst>
              <c:ext xmlns:c16="http://schemas.microsoft.com/office/drawing/2014/chart" uri="{C3380CC4-5D6E-409C-BE32-E72D297353CC}">
                <c16:uniqueId val="{0000026D-DAF3-43F0-8F9E-39E84BD1C969}"/>
              </c:ext>
            </c:extLst>
          </c:dPt>
          <c:dPt>
            <c:idx val="310"/>
            <c:invertIfNegative val="1"/>
            <c:bubble3D val="0"/>
            <c:spPr>
              <a:solidFill>
                <a:srgbClr val="AEABAB"/>
              </a:solidFill>
            </c:spPr>
            <c:extLst>
              <c:ext xmlns:c16="http://schemas.microsoft.com/office/drawing/2014/chart" uri="{C3380CC4-5D6E-409C-BE32-E72D297353CC}">
                <c16:uniqueId val="{0000026F-DAF3-43F0-8F9E-39E84BD1C969}"/>
              </c:ext>
            </c:extLst>
          </c:dPt>
          <c:dPt>
            <c:idx val="311"/>
            <c:invertIfNegative val="1"/>
            <c:bubble3D val="0"/>
            <c:spPr>
              <a:solidFill>
                <a:srgbClr val="AEABAB"/>
              </a:solidFill>
            </c:spPr>
            <c:extLst>
              <c:ext xmlns:c16="http://schemas.microsoft.com/office/drawing/2014/chart" uri="{C3380CC4-5D6E-409C-BE32-E72D297353CC}">
                <c16:uniqueId val="{00000271-DAF3-43F0-8F9E-39E84BD1C969}"/>
              </c:ext>
            </c:extLst>
          </c:dPt>
          <c:dPt>
            <c:idx val="312"/>
            <c:invertIfNegative val="1"/>
            <c:bubble3D val="0"/>
            <c:spPr>
              <a:solidFill>
                <a:srgbClr val="AEABAB"/>
              </a:solidFill>
            </c:spPr>
            <c:extLst>
              <c:ext xmlns:c16="http://schemas.microsoft.com/office/drawing/2014/chart" uri="{C3380CC4-5D6E-409C-BE32-E72D297353CC}">
                <c16:uniqueId val="{00000273-DAF3-43F0-8F9E-39E84BD1C969}"/>
              </c:ext>
            </c:extLst>
          </c:dPt>
          <c:dPt>
            <c:idx val="313"/>
            <c:invertIfNegative val="1"/>
            <c:bubble3D val="0"/>
            <c:spPr>
              <a:solidFill>
                <a:srgbClr val="AEABAB"/>
              </a:solidFill>
            </c:spPr>
            <c:extLst>
              <c:ext xmlns:c16="http://schemas.microsoft.com/office/drawing/2014/chart" uri="{C3380CC4-5D6E-409C-BE32-E72D297353CC}">
                <c16:uniqueId val="{00000275-DAF3-43F0-8F9E-39E84BD1C969}"/>
              </c:ext>
            </c:extLst>
          </c:dPt>
          <c:dPt>
            <c:idx val="314"/>
            <c:invertIfNegative val="1"/>
            <c:bubble3D val="0"/>
            <c:spPr>
              <a:solidFill>
                <a:srgbClr val="AEABAB"/>
              </a:solidFill>
            </c:spPr>
            <c:extLst>
              <c:ext xmlns:c16="http://schemas.microsoft.com/office/drawing/2014/chart" uri="{C3380CC4-5D6E-409C-BE32-E72D297353CC}">
                <c16:uniqueId val="{00000277-DAF3-43F0-8F9E-39E84BD1C969}"/>
              </c:ext>
            </c:extLst>
          </c:dPt>
          <c:dPt>
            <c:idx val="315"/>
            <c:invertIfNegative val="1"/>
            <c:bubble3D val="0"/>
            <c:spPr>
              <a:solidFill>
                <a:srgbClr val="AEABAB"/>
              </a:solidFill>
            </c:spPr>
            <c:extLst>
              <c:ext xmlns:c16="http://schemas.microsoft.com/office/drawing/2014/chart" uri="{C3380CC4-5D6E-409C-BE32-E72D297353CC}">
                <c16:uniqueId val="{00000279-DAF3-43F0-8F9E-39E84BD1C969}"/>
              </c:ext>
            </c:extLst>
          </c:dPt>
          <c:dPt>
            <c:idx val="316"/>
            <c:invertIfNegative val="1"/>
            <c:bubble3D val="0"/>
            <c:spPr>
              <a:solidFill>
                <a:srgbClr val="AEABAB"/>
              </a:solidFill>
            </c:spPr>
            <c:extLst>
              <c:ext xmlns:c16="http://schemas.microsoft.com/office/drawing/2014/chart" uri="{C3380CC4-5D6E-409C-BE32-E72D297353CC}">
                <c16:uniqueId val="{0000027B-DAF3-43F0-8F9E-39E84BD1C969}"/>
              </c:ext>
            </c:extLst>
          </c:dPt>
          <c:dPt>
            <c:idx val="317"/>
            <c:invertIfNegative val="1"/>
            <c:bubble3D val="0"/>
            <c:spPr>
              <a:solidFill>
                <a:srgbClr val="AEABAB"/>
              </a:solidFill>
            </c:spPr>
            <c:extLst>
              <c:ext xmlns:c16="http://schemas.microsoft.com/office/drawing/2014/chart" uri="{C3380CC4-5D6E-409C-BE32-E72D297353CC}">
                <c16:uniqueId val="{0000027D-DAF3-43F0-8F9E-39E84BD1C969}"/>
              </c:ext>
            </c:extLst>
          </c:dPt>
          <c:dPt>
            <c:idx val="318"/>
            <c:invertIfNegative val="1"/>
            <c:bubble3D val="0"/>
            <c:spPr>
              <a:solidFill>
                <a:srgbClr val="AEABAB"/>
              </a:solidFill>
            </c:spPr>
            <c:extLst>
              <c:ext xmlns:c16="http://schemas.microsoft.com/office/drawing/2014/chart" uri="{C3380CC4-5D6E-409C-BE32-E72D297353CC}">
                <c16:uniqueId val="{0000027F-DAF3-43F0-8F9E-39E84BD1C969}"/>
              </c:ext>
            </c:extLst>
          </c:dPt>
          <c:dPt>
            <c:idx val="319"/>
            <c:invertIfNegative val="1"/>
            <c:bubble3D val="0"/>
            <c:spPr>
              <a:solidFill>
                <a:srgbClr val="AEABAB"/>
              </a:solidFill>
            </c:spPr>
            <c:extLst>
              <c:ext xmlns:c16="http://schemas.microsoft.com/office/drawing/2014/chart" uri="{C3380CC4-5D6E-409C-BE32-E72D297353CC}">
                <c16:uniqueId val="{00000281-DAF3-43F0-8F9E-39E84BD1C969}"/>
              </c:ext>
            </c:extLst>
          </c:dPt>
          <c:dPt>
            <c:idx val="320"/>
            <c:invertIfNegative val="1"/>
            <c:bubble3D val="0"/>
            <c:spPr>
              <a:solidFill>
                <a:srgbClr val="AEABAB"/>
              </a:solidFill>
            </c:spPr>
            <c:extLst>
              <c:ext xmlns:c16="http://schemas.microsoft.com/office/drawing/2014/chart" uri="{C3380CC4-5D6E-409C-BE32-E72D297353CC}">
                <c16:uniqueId val="{00000283-DAF3-43F0-8F9E-39E84BD1C969}"/>
              </c:ext>
            </c:extLst>
          </c:dPt>
          <c:dPt>
            <c:idx val="321"/>
            <c:invertIfNegative val="1"/>
            <c:bubble3D val="0"/>
            <c:spPr>
              <a:solidFill>
                <a:srgbClr val="AEABAB"/>
              </a:solidFill>
            </c:spPr>
            <c:extLst>
              <c:ext xmlns:c16="http://schemas.microsoft.com/office/drawing/2014/chart" uri="{C3380CC4-5D6E-409C-BE32-E72D297353CC}">
                <c16:uniqueId val="{00000285-DAF3-43F0-8F9E-39E84BD1C969}"/>
              </c:ext>
            </c:extLst>
          </c:dPt>
          <c:dPt>
            <c:idx val="322"/>
            <c:invertIfNegative val="1"/>
            <c:bubble3D val="0"/>
            <c:spPr>
              <a:solidFill>
                <a:srgbClr val="AEABAB"/>
              </a:solidFill>
            </c:spPr>
            <c:extLst>
              <c:ext xmlns:c16="http://schemas.microsoft.com/office/drawing/2014/chart" uri="{C3380CC4-5D6E-409C-BE32-E72D297353CC}">
                <c16:uniqueId val="{00000287-DAF3-43F0-8F9E-39E84BD1C969}"/>
              </c:ext>
            </c:extLst>
          </c:dPt>
          <c:dPt>
            <c:idx val="323"/>
            <c:invertIfNegative val="1"/>
            <c:bubble3D val="0"/>
            <c:spPr>
              <a:solidFill>
                <a:srgbClr val="AEABAB"/>
              </a:solidFill>
            </c:spPr>
            <c:extLst>
              <c:ext xmlns:c16="http://schemas.microsoft.com/office/drawing/2014/chart" uri="{C3380CC4-5D6E-409C-BE32-E72D297353CC}">
                <c16:uniqueId val="{00000289-DAF3-43F0-8F9E-39E84BD1C969}"/>
              </c:ext>
            </c:extLst>
          </c:dPt>
          <c:dPt>
            <c:idx val="324"/>
            <c:invertIfNegative val="1"/>
            <c:bubble3D val="0"/>
            <c:spPr>
              <a:solidFill>
                <a:srgbClr val="AEABAB"/>
              </a:solidFill>
            </c:spPr>
            <c:extLst>
              <c:ext xmlns:c16="http://schemas.microsoft.com/office/drawing/2014/chart" uri="{C3380CC4-5D6E-409C-BE32-E72D297353CC}">
                <c16:uniqueId val="{0000028B-DAF3-43F0-8F9E-39E84BD1C969}"/>
              </c:ext>
            </c:extLst>
          </c:dPt>
          <c:dPt>
            <c:idx val="325"/>
            <c:invertIfNegative val="1"/>
            <c:bubble3D val="0"/>
            <c:spPr>
              <a:solidFill>
                <a:srgbClr val="AEABAB"/>
              </a:solidFill>
            </c:spPr>
            <c:extLst>
              <c:ext xmlns:c16="http://schemas.microsoft.com/office/drawing/2014/chart" uri="{C3380CC4-5D6E-409C-BE32-E72D297353CC}">
                <c16:uniqueId val="{0000028D-DAF3-43F0-8F9E-39E84BD1C969}"/>
              </c:ext>
            </c:extLst>
          </c:dPt>
          <c:dPt>
            <c:idx val="326"/>
            <c:invertIfNegative val="1"/>
            <c:bubble3D val="0"/>
            <c:spPr>
              <a:solidFill>
                <a:srgbClr val="AEABAB"/>
              </a:solidFill>
            </c:spPr>
            <c:extLst>
              <c:ext xmlns:c16="http://schemas.microsoft.com/office/drawing/2014/chart" uri="{C3380CC4-5D6E-409C-BE32-E72D297353CC}">
                <c16:uniqueId val="{0000028F-DAF3-43F0-8F9E-39E84BD1C969}"/>
              </c:ext>
            </c:extLst>
          </c:dPt>
          <c:dPt>
            <c:idx val="327"/>
            <c:invertIfNegative val="1"/>
            <c:bubble3D val="0"/>
            <c:spPr>
              <a:solidFill>
                <a:srgbClr val="AEABAB"/>
              </a:solidFill>
            </c:spPr>
            <c:extLst>
              <c:ext xmlns:c16="http://schemas.microsoft.com/office/drawing/2014/chart" uri="{C3380CC4-5D6E-409C-BE32-E72D297353CC}">
                <c16:uniqueId val="{00000291-DAF3-43F0-8F9E-39E84BD1C969}"/>
              </c:ext>
            </c:extLst>
          </c:dPt>
          <c:dPt>
            <c:idx val="328"/>
            <c:invertIfNegative val="1"/>
            <c:bubble3D val="0"/>
            <c:spPr>
              <a:solidFill>
                <a:srgbClr val="AEABAB"/>
              </a:solidFill>
            </c:spPr>
            <c:extLst>
              <c:ext xmlns:c16="http://schemas.microsoft.com/office/drawing/2014/chart" uri="{C3380CC4-5D6E-409C-BE32-E72D297353CC}">
                <c16:uniqueId val="{00000293-DAF3-43F0-8F9E-39E84BD1C969}"/>
              </c:ext>
            </c:extLst>
          </c:dPt>
          <c:dPt>
            <c:idx val="329"/>
            <c:invertIfNegative val="1"/>
            <c:bubble3D val="0"/>
            <c:spPr>
              <a:solidFill>
                <a:srgbClr val="AEABAB"/>
              </a:solidFill>
            </c:spPr>
            <c:extLst>
              <c:ext xmlns:c16="http://schemas.microsoft.com/office/drawing/2014/chart" uri="{C3380CC4-5D6E-409C-BE32-E72D297353CC}">
                <c16:uniqueId val="{00000295-DAF3-43F0-8F9E-39E84BD1C969}"/>
              </c:ext>
            </c:extLst>
          </c:dPt>
          <c:dPt>
            <c:idx val="330"/>
            <c:invertIfNegative val="1"/>
            <c:bubble3D val="0"/>
            <c:spPr>
              <a:solidFill>
                <a:srgbClr val="AEABAB"/>
              </a:solidFill>
            </c:spPr>
            <c:extLst>
              <c:ext xmlns:c16="http://schemas.microsoft.com/office/drawing/2014/chart" uri="{C3380CC4-5D6E-409C-BE32-E72D297353CC}">
                <c16:uniqueId val="{00000297-DAF3-43F0-8F9E-39E84BD1C969}"/>
              </c:ext>
            </c:extLst>
          </c:dPt>
          <c:dPt>
            <c:idx val="331"/>
            <c:invertIfNegative val="1"/>
            <c:bubble3D val="0"/>
            <c:spPr>
              <a:solidFill>
                <a:srgbClr val="AEABAB"/>
              </a:solidFill>
            </c:spPr>
            <c:extLst>
              <c:ext xmlns:c16="http://schemas.microsoft.com/office/drawing/2014/chart" uri="{C3380CC4-5D6E-409C-BE32-E72D297353CC}">
                <c16:uniqueId val="{00000299-DAF3-43F0-8F9E-39E84BD1C969}"/>
              </c:ext>
            </c:extLst>
          </c:dPt>
          <c:dPt>
            <c:idx val="332"/>
            <c:invertIfNegative val="1"/>
            <c:bubble3D val="0"/>
            <c:spPr>
              <a:solidFill>
                <a:srgbClr val="AEABAB"/>
              </a:solidFill>
            </c:spPr>
            <c:extLst>
              <c:ext xmlns:c16="http://schemas.microsoft.com/office/drawing/2014/chart" uri="{C3380CC4-5D6E-409C-BE32-E72D297353CC}">
                <c16:uniqueId val="{0000029B-DAF3-43F0-8F9E-39E84BD1C969}"/>
              </c:ext>
            </c:extLst>
          </c:dPt>
          <c:dPt>
            <c:idx val="333"/>
            <c:invertIfNegative val="1"/>
            <c:bubble3D val="0"/>
            <c:spPr>
              <a:solidFill>
                <a:srgbClr val="AEABAB"/>
              </a:solidFill>
            </c:spPr>
            <c:extLst>
              <c:ext xmlns:c16="http://schemas.microsoft.com/office/drawing/2014/chart" uri="{C3380CC4-5D6E-409C-BE32-E72D297353CC}">
                <c16:uniqueId val="{0000029D-DAF3-43F0-8F9E-39E84BD1C969}"/>
              </c:ext>
            </c:extLst>
          </c:dPt>
          <c:dPt>
            <c:idx val="334"/>
            <c:invertIfNegative val="1"/>
            <c:bubble3D val="0"/>
            <c:spPr>
              <a:solidFill>
                <a:srgbClr val="AEABAB"/>
              </a:solidFill>
            </c:spPr>
            <c:extLst>
              <c:ext xmlns:c16="http://schemas.microsoft.com/office/drawing/2014/chart" uri="{C3380CC4-5D6E-409C-BE32-E72D297353CC}">
                <c16:uniqueId val="{0000029F-DAF3-43F0-8F9E-39E84BD1C969}"/>
              </c:ext>
            </c:extLst>
          </c:dPt>
          <c:dPt>
            <c:idx val="335"/>
            <c:invertIfNegative val="1"/>
            <c:bubble3D val="0"/>
            <c:spPr>
              <a:solidFill>
                <a:srgbClr val="AEABAB"/>
              </a:solidFill>
            </c:spPr>
            <c:extLst>
              <c:ext xmlns:c16="http://schemas.microsoft.com/office/drawing/2014/chart" uri="{C3380CC4-5D6E-409C-BE32-E72D297353CC}">
                <c16:uniqueId val="{000002A1-DAF3-43F0-8F9E-39E84BD1C969}"/>
              </c:ext>
            </c:extLst>
          </c:dPt>
          <c:cat>
            <c:strRef>
              <c:f>Sheet1!$A$2:$A$337</c:f>
              <c:strCache>
                <c:ptCount val="336"/>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Gillette</c:v>
                </c:pt>
                <c:pt idx="26">
                  <c:v>Bic</c:v>
                </c:pt>
                <c:pt idx="27">
                  <c:v>Gillette</c:v>
                </c:pt>
                <c:pt idx="28">
                  <c:v>Schick</c:v>
                </c:pt>
                <c:pt idx="29">
                  <c:v>Gillette</c:v>
                </c:pt>
                <c:pt idx="30">
                  <c:v>Gillette</c:v>
                </c:pt>
                <c:pt idx="31">
                  <c:v>Bic</c:v>
                </c:pt>
                <c:pt idx="32">
                  <c:v>Schick</c:v>
                </c:pt>
                <c:pt idx="33">
                  <c:v>Dollar Shav</c:v>
                </c:pt>
                <c:pt idx="34">
                  <c:v>Gillette</c:v>
                </c:pt>
                <c:pt idx="35">
                  <c:v>Dollar Shav</c:v>
                </c:pt>
                <c:pt idx="36">
                  <c:v>Equate</c:v>
                </c:pt>
                <c:pt idx="37">
                  <c:v>Gillette</c:v>
                </c:pt>
                <c:pt idx="38">
                  <c:v>Schick</c:v>
                </c:pt>
                <c:pt idx="39">
                  <c:v>Bic</c:v>
                </c:pt>
                <c:pt idx="40">
                  <c:v>Gillette</c:v>
                </c:pt>
                <c:pt idx="41">
                  <c:v>Schick</c:v>
                </c:pt>
                <c:pt idx="42">
                  <c:v>Harry's</c:v>
                </c:pt>
                <c:pt idx="43">
                  <c:v>Schick</c:v>
                </c:pt>
                <c:pt idx="44">
                  <c:v>Gillette</c:v>
                </c:pt>
                <c:pt idx="45">
                  <c:v>Gillette</c:v>
                </c:pt>
                <c:pt idx="46">
                  <c:v>Gillette</c:v>
                </c:pt>
                <c:pt idx="47">
                  <c:v>Equate</c:v>
                </c:pt>
                <c:pt idx="48">
                  <c:v>Schick</c:v>
                </c:pt>
                <c:pt idx="49">
                  <c:v>Gillette</c:v>
                </c:pt>
                <c:pt idx="50">
                  <c:v>Bic</c:v>
                </c:pt>
                <c:pt idx="51">
                  <c:v>Gillette</c:v>
                </c:pt>
                <c:pt idx="52">
                  <c:v>Equate</c:v>
                </c:pt>
                <c:pt idx="53">
                  <c:v>Bic</c:v>
                </c:pt>
                <c:pt idx="54">
                  <c:v>Equate</c:v>
                </c:pt>
                <c:pt idx="55">
                  <c:v>Van Der Hag</c:v>
                </c:pt>
                <c:pt idx="56">
                  <c:v>Gillette</c:v>
                </c:pt>
                <c:pt idx="57">
                  <c:v>Gillette</c:v>
                </c:pt>
                <c:pt idx="58">
                  <c:v>Bic</c:v>
                </c:pt>
                <c:pt idx="59">
                  <c:v>Bic</c:v>
                </c:pt>
                <c:pt idx="60">
                  <c:v>Equate</c:v>
                </c:pt>
                <c:pt idx="61">
                  <c:v>Dollar Shav</c:v>
                </c:pt>
                <c:pt idx="62">
                  <c:v>Bic</c:v>
                </c:pt>
                <c:pt idx="63">
                  <c:v>Schick</c:v>
                </c:pt>
                <c:pt idx="64">
                  <c:v>Gillette</c:v>
                </c:pt>
                <c:pt idx="65">
                  <c:v>Comfort 3</c:v>
                </c:pt>
                <c:pt idx="66">
                  <c:v>Van Der Hag</c:v>
                </c:pt>
                <c:pt idx="67">
                  <c:v>Bic</c:v>
                </c:pt>
                <c:pt idx="68">
                  <c:v>Gillette</c:v>
                </c:pt>
                <c:pt idx="69">
                  <c:v>Gillette</c:v>
                </c:pt>
                <c:pt idx="70">
                  <c:v>Comfort 3</c:v>
                </c:pt>
                <c:pt idx="71">
                  <c:v>Equate</c:v>
                </c:pt>
                <c:pt idx="72">
                  <c:v>Gillette</c:v>
                </c:pt>
                <c:pt idx="73">
                  <c:v>Equate</c:v>
                </c:pt>
                <c:pt idx="74">
                  <c:v>Gillette</c:v>
                </c:pt>
                <c:pt idx="75">
                  <c:v>Harry's</c:v>
                </c:pt>
                <c:pt idx="76">
                  <c:v>Gillette</c:v>
                </c:pt>
                <c:pt idx="77">
                  <c:v>Gillette</c:v>
                </c:pt>
                <c:pt idx="78">
                  <c:v>Bic</c:v>
                </c:pt>
                <c:pt idx="79">
                  <c:v>Bic</c:v>
                </c:pt>
                <c:pt idx="80">
                  <c:v>Bic</c:v>
                </c:pt>
                <c:pt idx="81">
                  <c:v>Equate</c:v>
                </c:pt>
                <c:pt idx="82">
                  <c:v>Gillette</c:v>
                </c:pt>
                <c:pt idx="83">
                  <c:v>Schick</c:v>
                </c:pt>
                <c:pt idx="84">
                  <c:v>Gillette</c:v>
                </c:pt>
                <c:pt idx="85">
                  <c:v>Bic</c:v>
                </c:pt>
                <c:pt idx="86">
                  <c:v>Gillette</c:v>
                </c:pt>
                <c:pt idx="87">
                  <c:v>Schick</c:v>
                </c:pt>
                <c:pt idx="88">
                  <c:v>Gillette</c:v>
                </c:pt>
                <c:pt idx="89">
                  <c:v>Harry's</c:v>
                </c:pt>
                <c:pt idx="90">
                  <c:v>Bic</c:v>
                </c:pt>
                <c:pt idx="91">
                  <c:v>Gillette</c:v>
                </c:pt>
                <c:pt idx="92">
                  <c:v>Gillette</c:v>
                </c:pt>
                <c:pt idx="93">
                  <c:v>Gillette</c:v>
                </c:pt>
                <c:pt idx="94">
                  <c:v>Bic</c:v>
                </c:pt>
                <c:pt idx="95">
                  <c:v>Gillette</c:v>
                </c:pt>
                <c:pt idx="96">
                  <c:v>Harry's</c:v>
                </c:pt>
                <c:pt idx="97">
                  <c:v>Gillette</c:v>
                </c:pt>
                <c:pt idx="98">
                  <c:v>Gillette</c:v>
                </c:pt>
                <c:pt idx="99">
                  <c:v>Gillette</c:v>
                </c:pt>
                <c:pt idx="100">
                  <c:v>Bic</c:v>
                </c:pt>
                <c:pt idx="101">
                  <c:v>Gillette</c:v>
                </c:pt>
                <c:pt idx="102">
                  <c:v>Bic</c:v>
                </c:pt>
                <c:pt idx="103">
                  <c:v>Equate</c:v>
                </c:pt>
                <c:pt idx="104">
                  <c:v>Gillette</c:v>
                </c:pt>
                <c:pt idx="105">
                  <c:v>Gillette</c:v>
                </c:pt>
                <c:pt idx="106">
                  <c:v>Gillette</c:v>
                </c:pt>
                <c:pt idx="107">
                  <c:v>Schick</c:v>
                </c:pt>
                <c:pt idx="108">
                  <c:v>Schick</c:v>
                </c:pt>
                <c:pt idx="109">
                  <c:v>Bic</c:v>
                </c:pt>
                <c:pt idx="110">
                  <c:v>Gillette</c:v>
                </c:pt>
                <c:pt idx="111">
                  <c:v>Schick</c:v>
                </c:pt>
                <c:pt idx="112">
                  <c:v>Gillette</c:v>
                </c:pt>
                <c:pt idx="113">
                  <c:v>Bic</c:v>
                </c:pt>
                <c:pt idx="114">
                  <c:v>Dollar Shav</c:v>
                </c:pt>
                <c:pt idx="115">
                  <c:v>Bic</c:v>
                </c:pt>
                <c:pt idx="116">
                  <c:v>Gillette</c:v>
                </c:pt>
                <c:pt idx="117">
                  <c:v>Bic</c:v>
                </c:pt>
                <c:pt idx="118">
                  <c:v>Gillette</c:v>
                </c:pt>
                <c:pt idx="119">
                  <c:v>Gillette</c:v>
                </c:pt>
                <c:pt idx="120">
                  <c:v>Gillette</c:v>
                </c:pt>
                <c:pt idx="121">
                  <c:v>Harry's</c:v>
                </c:pt>
                <c:pt idx="122">
                  <c:v>Gillette</c:v>
                </c:pt>
                <c:pt idx="123">
                  <c:v>Harry's</c:v>
                </c:pt>
                <c:pt idx="124">
                  <c:v>Schick</c:v>
                </c:pt>
                <c:pt idx="125">
                  <c:v>Schick</c:v>
                </c:pt>
                <c:pt idx="126">
                  <c:v>Cremo</c:v>
                </c:pt>
                <c:pt idx="127">
                  <c:v>Cremo</c:v>
                </c:pt>
                <c:pt idx="128">
                  <c:v>Bic</c:v>
                </c:pt>
                <c:pt idx="129">
                  <c:v>Gillette</c:v>
                </c:pt>
                <c:pt idx="130">
                  <c:v>Comfort 3</c:v>
                </c:pt>
                <c:pt idx="131">
                  <c:v>Bic</c:v>
                </c:pt>
                <c:pt idx="132">
                  <c:v>Bic</c:v>
                </c:pt>
                <c:pt idx="133">
                  <c:v>Gillette</c:v>
                </c:pt>
                <c:pt idx="134">
                  <c:v>Schick</c:v>
                </c:pt>
                <c:pt idx="135">
                  <c:v>Harry's</c:v>
                </c:pt>
                <c:pt idx="136">
                  <c:v>Dollar Shav</c:v>
                </c:pt>
                <c:pt idx="137">
                  <c:v>Harry's</c:v>
                </c:pt>
                <c:pt idx="138">
                  <c:v>Bic</c:v>
                </c:pt>
                <c:pt idx="139">
                  <c:v>Gillette</c:v>
                </c:pt>
                <c:pt idx="140">
                  <c:v>Gillette</c:v>
                </c:pt>
                <c:pt idx="141">
                  <c:v>Equate</c:v>
                </c:pt>
                <c:pt idx="142">
                  <c:v>Gillette</c:v>
                </c:pt>
                <c:pt idx="143">
                  <c:v>Dollar Shav</c:v>
                </c:pt>
                <c:pt idx="144">
                  <c:v>All Others</c:v>
                </c:pt>
                <c:pt idx="145">
                  <c:v>Gillette</c:v>
                </c:pt>
                <c:pt idx="146">
                  <c:v>Dollar Shav</c:v>
                </c:pt>
                <c:pt idx="147">
                  <c:v>Schick</c:v>
                </c:pt>
                <c:pt idx="148">
                  <c:v>Schick</c:v>
                </c:pt>
                <c:pt idx="149">
                  <c:v>Harry's</c:v>
                </c:pt>
                <c:pt idx="150">
                  <c:v>Gillette</c:v>
                </c:pt>
                <c:pt idx="151">
                  <c:v>All Others</c:v>
                </c:pt>
                <c:pt idx="152">
                  <c:v>Schick</c:v>
                </c:pt>
                <c:pt idx="153">
                  <c:v>Gillette</c:v>
                </c:pt>
                <c:pt idx="154">
                  <c:v>Gillette</c:v>
                </c:pt>
                <c:pt idx="155">
                  <c:v>Gillette</c:v>
                </c:pt>
                <c:pt idx="156">
                  <c:v>Equate</c:v>
                </c:pt>
                <c:pt idx="157">
                  <c:v>Dollar Shav</c:v>
                </c:pt>
                <c:pt idx="158">
                  <c:v>Gillette</c:v>
                </c:pt>
                <c:pt idx="159">
                  <c:v>Gillette</c:v>
                </c:pt>
                <c:pt idx="160">
                  <c:v>Schick</c:v>
                </c:pt>
                <c:pt idx="161">
                  <c:v>Harry's</c:v>
                </c:pt>
                <c:pt idx="162">
                  <c:v>Van Der Hag</c:v>
                </c:pt>
                <c:pt idx="163">
                  <c:v>Comfort 3</c:v>
                </c:pt>
                <c:pt idx="164">
                  <c:v>Gillette</c:v>
                </c:pt>
                <c:pt idx="165">
                  <c:v>Schick</c:v>
                </c:pt>
                <c:pt idx="166">
                  <c:v>Gillette</c:v>
                </c:pt>
                <c:pt idx="167">
                  <c:v>Gillette</c:v>
                </c:pt>
                <c:pt idx="168">
                  <c:v>Schick</c:v>
                </c:pt>
                <c:pt idx="169">
                  <c:v>Gillette</c:v>
                </c:pt>
                <c:pt idx="170">
                  <c:v>Dollar Shav</c:v>
                </c:pt>
                <c:pt idx="171">
                  <c:v>Gillette</c:v>
                </c:pt>
                <c:pt idx="172">
                  <c:v>Gillette</c:v>
                </c:pt>
                <c:pt idx="173">
                  <c:v>Schick</c:v>
                </c:pt>
                <c:pt idx="174">
                  <c:v>Equate</c:v>
                </c:pt>
                <c:pt idx="175">
                  <c:v>Schick</c:v>
                </c:pt>
                <c:pt idx="176">
                  <c:v>Cremo</c:v>
                </c:pt>
                <c:pt idx="177">
                  <c:v>Gillette</c:v>
                </c:pt>
                <c:pt idx="178">
                  <c:v>Bic</c:v>
                </c:pt>
                <c:pt idx="179">
                  <c:v>Gillette</c:v>
                </c:pt>
                <c:pt idx="180">
                  <c:v>Schick</c:v>
                </c:pt>
                <c:pt idx="181">
                  <c:v>Gillette</c:v>
                </c:pt>
                <c:pt idx="182">
                  <c:v>Gillette</c:v>
                </c:pt>
                <c:pt idx="183">
                  <c:v>Bic</c:v>
                </c:pt>
                <c:pt idx="184">
                  <c:v>Cremo</c:v>
                </c:pt>
                <c:pt idx="185">
                  <c:v>Gillette</c:v>
                </c:pt>
                <c:pt idx="186">
                  <c:v>Gillette</c:v>
                </c:pt>
                <c:pt idx="187">
                  <c:v>Schick</c:v>
                </c:pt>
                <c:pt idx="188">
                  <c:v>Harry's</c:v>
                </c:pt>
                <c:pt idx="189">
                  <c:v>Harry's</c:v>
                </c:pt>
                <c:pt idx="190">
                  <c:v>Schick</c:v>
                </c:pt>
                <c:pt idx="191">
                  <c:v>Gillette</c:v>
                </c:pt>
                <c:pt idx="192">
                  <c:v>Schick</c:v>
                </c:pt>
                <c:pt idx="193">
                  <c:v>Schick</c:v>
                </c:pt>
                <c:pt idx="194">
                  <c:v>Schick</c:v>
                </c:pt>
                <c:pt idx="195">
                  <c:v>Dollar Shav</c:v>
                </c:pt>
                <c:pt idx="196">
                  <c:v>Gillette</c:v>
                </c:pt>
                <c:pt idx="197">
                  <c:v>Bic</c:v>
                </c:pt>
                <c:pt idx="198">
                  <c:v>Unilever: A</c:v>
                </c:pt>
                <c:pt idx="199">
                  <c:v>Schick</c:v>
                </c:pt>
                <c:pt idx="200">
                  <c:v>Gillette</c:v>
                </c:pt>
                <c:pt idx="201">
                  <c:v>Schick</c:v>
                </c:pt>
                <c:pt idx="202">
                  <c:v>Schick</c:v>
                </c:pt>
                <c:pt idx="203">
                  <c:v>Schick</c:v>
                </c:pt>
                <c:pt idx="204">
                  <c:v>Gillette</c:v>
                </c:pt>
                <c:pt idx="205">
                  <c:v>Bic</c:v>
                </c:pt>
                <c:pt idx="206">
                  <c:v>Gillette</c:v>
                </c:pt>
                <c:pt idx="207">
                  <c:v>Gillette</c:v>
                </c:pt>
                <c:pt idx="208">
                  <c:v>Bic</c:v>
                </c:pt>
                <c:pt idx="209">
                  <c:v>Equate</c:v>
                </c:pt>
                <c:pt idx="210">
                  <c:v>Schick</c:v>
                </c:pt>
                <c:pt idx="211">
                  <c:v>Schick</c:v>
                </c:pt>
                <c:pt idx="212">
                  <c:v>Schick</c:v>
                </c:pt>
                <c:pt idx="213">
                  <c:v>Gillette</c:v>
                </c:pt>
                <c:pt idx="214">
                  <c:v>Dollar Shav</c:v>
                </c:pt>
                <c:pt idx="215">
                  <c:v>Equate</c:v>
                </c:pt>
                <c:pt idx="216">
                  <c:v>Gillette</c:v>
                </c:pt>
                <c:pt idx="217">
                  <c:v>Gillette</c:v>
                </c:pt>
                <c:pt idx="218">
                  <c:v>Gillette</c:v>
                </c:pt>
                <c:pt idx="219">
                  <c:v>Schick</c:v>
                </c:pt>
                <c:pt idx="220">
                  <c:v>Edgewell Pe</c:v>
                </c:pt>
                <c:pt idx="221">
                  <c:v>Bic</c:v>
                </c:pt>
                <c:pt idx="222">
                  <c:v>Gillette</c:v>
                </c:pt>
                <c:pt idx="223">
                  <c:v>Gillette</c:v>
                </c:pt>
                <c:pt idx="224">
                  <c:v>Van Der Hag</c:v>
                </c:pt>
                <c:pt idx="225">
                  <c:v>Schick</c:v>
                </c:pt>
                <c:pt idx="226">
                  <c:v>Gillette</c:v>
                </c:pt>
                <c:pt idx="227">
                  <c:v>Van Der Hag</c:v>
                </c:pt>
                <c:pt idx="228">
                  <c:v>Gillette</c:v>
                </c:pt>
                <c:pt idx="229">
                  <c:v>Bic</c:v>
                </c:pt>
                <c:pt idx="230">
                  <c:v>Gillette</c:v>
                </c:pt>
                <c:pt idx="231">
                  <c:v>Gillette</c:v>
                </c:pt>
                <c:pt idx="232">
                  <c:v>Bic</c:v>
                </c:pt>
                <c:pt idx="233">
                  <c:v>Schick</c:v>
                </c:pt>
                <c:pt idx="234">
                  <c:v>Schick</c:v>
                </c:pt>
                <c:pt idx="235">
                  <c:v>Equate</c:v>
                </c:pt>
                <c:pt idx="236">
                  <c:v>Gillette</c:v>
                </c:pt>
                <c:pt idx="237">
                  <c:v>Schick</c:v>
                </c:pt>
                <c:pt idx="238">
                  <c:v>Gillette</c:v>
                </c:pt>
                <c:pt idx="239">
                  <c:v>Dollar Shav</c:v>
                </c:pt>
                <c:pt idx="240">
                  <c:v>Gillette</c:v>
                </c:pt>
                <c:pt idx="241">
                  <c:v>Bic</c:v>
                </c:pt>
                <c:pt idx="242">
                  <c:v>Schick</c:v>
                </c:pt>
                <c:pt idx="243">
                  <c:v>Bic</c:v>
                </c:pt>
                <c:pt idx="244">
                  <c:v>Gillette</c:v>
                </c:pt>
                <c:pt idx="245">
                  <c:v>Bic</c:v>
                </c:pt>
                <c:pt idx="246">
                  <c:v>Equate</c:v>
                </c:pt>
                <c:pt idx="247">
                  <c:v>Equate</c:v>
                </c:pt>
                <c:pt idx="248">
                  <c:v>Bic</c:v>
                </c:pt>
                <c:pt idx="249">
                  <c:v>Bic</c:v>
                </c:pt>
                <c:pt idx="250">
                  <c:v>Equate</c:v>
                </c:pt>
                <c:pt idx="251">
                  <c:v>Schick</c:v>
                </c:pt>
                <c:pt idx="252">
                  <c:v>Schick</c:v>
                </c:pt>
                <c:pt idx="253">
                  <c:v>Gillette</c:v>
                </c:pt>
                <c:pt idx="254">
                  <c:v>Gillette</c:v>
                </c:pt>
                <c:pt idx="255">
                  <c:v>Gillette</c:v>
                </c:pt>
                <c:pt idx="256">
                  <c:v>Equate</c:v>
                </c:pt>
                <c:pt idx="257">
                  <c:v>Edgewell Pe</c:v>
                </c:pt>
                <c:pt idx="258">
                  <c:v>Schick</c:v>
                </c:pt>
                <c:pt idx="259">
                  <c:v>Bic</c:v>
                </c:pt>
                <c:pt idx="260">
                  <c:v>Gillette</c:v>
                </c:pt>
                <c:pt idx="261">
                  <c:v>Gillette</c:v>
                </c:pt>
                <c:pt idx="262">
                  <c:v>Gillette</c:v>
                </c:pt>
                <c:pt idx="263">
                  <c:v>Schick</c:v>
                </c:pt>
                <c:pt idx="264">
                  <c:v>Gillette</c:v>
                </c:pt>
                <c:pt idx="265">
                  <c:v>All Others</c:v>
                </c:pt>
                <c:pt idx="266">
                  <c:v>Schick</c:v>
                </c:pt>
                <c:pt idx="267">
                  <c:v>Schick</c:v>
                </c:pt>
                <c:pt idx="268">
                  <c:v>Gillette</c:v>
                </c:pt>
                <c:pt idx="269">
                  <c:v>Gillette</c:v>
                </c:pt>
                <c:pt idx="270">
                  <c:v>Harry's</c:v>
                </c:pt>
                <c:pt idx="271">
                  <c:v>Schick</c:v>
                </c:pt>
                <c:pt idx="272">
                  <c:v>Schick</c:v>
                </c:pt>
                <c:pt idx="273">
                  <c:v>Schick</c:v>
                </c:pt>
                <c:pt idx="274">
                  <c:v>Gillette</c:v>
                </c:pt>
                <c:pt idx="275">
                  <c:v>Schick</c:v>
                </c:pt>
                <c:pt idx="276">
                  <c:v>Gillette</c:v>
                </c:pt>
                <c:pt idx="277">
                  <c:v>Schick</c:v>
                </c:pt>
                <c:pt idx="278">
                  <c:v>Equate</c:v>
                </c:pt>
                <c:pt idx="279">
                  <c:v>Schick</c:v>
                </c:pt>
                <c:pt idx="280">
                  <c:v>Barbasol</c:v>
                </c:pt>
                <c:pt idx="281">
                  <c:v>Equate</c:v>
                </c:pt>
                <c:pt idx="282">
                  <c:v>Gillette</c:v>
                </c:pt>
                <c:pt idx="283">
                  <c:v>Gillette</c:v>
                </c:pt>
                <c:pt idx="284">
                  <c:v>Schick</c:v>
                </c:pt>
                <c:pt idx="285">
                  <c:v>Gillette</c:v>
                </c:pt>
                <c:pt idx="286">
                  <c:v>Edgewell Pe</c:v>
                </c:pt>
                <c:pt idx="287">
                  <c:v>Bic</c:v>
                </c:pt>
                <c:pt idx="288">
                  <c:v>Bic</c:v>
                </c:pt>
                <c:pt idx="289">
                  <c:v>Gillette</c:v>
                </c:pt>
                <c:pt idx="290">
                  <c:v>Schick</c:v>
                </c:pt>
                <c:pt idx="291">
                  <c:v>Schick</c:v>
                </c:pt>
                <c:pt idx="292">
                  <c:v>Barbasol</c:v>
                </c:pt>
                <c:pt idx="293">
                  <c:v>Bic</c:v>
                </c:pt>
                <c:pt idx="294">
                  <c:v>Schick</c:v>
                </c:pt>
                <c:pt idx="295">
                  <c:v>Schick</c:v>
                </c:pt>
                <c:pt idx="296">
                  <c:v>Gillette</c:v>
                </c:pt>
                <c:pt idx="297">
                  <c:v>Gillette</c:v>
                </c:pt>
                <c:pt idx="298">
                  <c:v>Gillette</c:v>
                </c:pt>
                <c:pt idx="299">
                  <c:v>Schick</c:v>
                </c:pt>
                <c:pt idx="300">
                  <c:v>Equate</c:v>
                </c:pt>
                <c:pt idx="301">
                  <c:v>Schick</c:v>
                </c:pt>
                <c:pt idx="302">
                  <c:v>Dollar Shav</c:v>
                </c:pt>
                <c:pt idx="303">
                  <c:v>Equate</c:v>
                </c:pt>
                <c:pt idx="304">
                  <c:v>Personna</c:v>
                </c:pt>
                <c:pt idx="305">
                  <c:v>Gillette</c:v>
                </c:pt>
                <c:pt idx="306">
                  <c:v>Gillette</c:v>
                </c:pt>
                <c:pt idx="307">
                  <c:v>Gillette</c:v>
                </c:pt>
                <c:pt idx="308">
                  <c:v>Equate</c:v>
                </c:pt>
                <c:pt idx="309">
                  <c:v>Gillette</c:v>
                </c:pt>
                <c:pt idx="310">
                  <c:v>Schick</c:v>
                </c:pt>
                <c:pt idx="311">
                  <c:v>Personna</c:v>
                </c:pt>
                <c:pt idx="312">
                  <c:v>Bic</c:v>
                </c:pt>
                <c:pt idx="313">
                  <c:v>Edgewell Pe</c:v>
                </c:pt>
                <c:pt idx="314">
                  <c:v>Bic</c:v>
                </c:pt>
                <c:pt idx="315">
                  <c:v>Dollar Shav</c:v>
                </c:pt>
                <c:pt idx="316">
                  <c:v>Unilever: A</c:v>
                </c:pt>
                <c:pt idx="317">
                  <c:v>Schick</c:v>
                </c:pt>
                <c:pt idx="318">
                  <c:v>Equate</c:v>
                </c:pt>
                <c:pt idx="319">
                  <c:v>Schick</c:v>
                </c:pt>
                <c:pt idx="320">
                  <c:v>Gillette</c:v>
                </c:pt>
                <c:pt idx="321">
                  <c:v>Gillette</c:v>
                </c:pt>
                <c:pt idx="322">
                  <c:v>Schick</c:v>
                </c:pt>
                <c:pt idx="323">
                  <c:v>Schick</c:v>
                </c:pt>
                <c:pt idx="324">
                  <c:v>Gillette</c:v>
                </c:pt>
                <c:pt idx="325">
                  <c:v>All Others</c:v>
                </c:pt>
                <c:pt idx="326">
                  <c:v>Bic</c:v>
                </c:pt>
                <c:pt idx="327">
                  <c:v>Procter &amp; G</c:v>
                </c:pt>
                <c:pt idx="328">
                  <c:v>Gillette</c:v>
                </c:pt>
                <c:pt idx="329">
                  <c:v>Gillette</c:v>
                </c:pt>
                <c:pt idx="330">
                  <c:v>Gillette</c:v>
                </c:pt>
                <c:pt idx="331">
                  <c:v>Gillette</c:v>
                </c:pt>
                <c:pt idx="332">
                  <c:v>Private Lab</c:v>
                </c:pt>
                <c:pt idx="333">
                  <c:v>Gillette</c:v>
                </c:pt>
                <c:pt idx="334">
                  <c:v>Gillette</c:v>
                </c:pt>
                <c:pt idx="335">
                  <c:v>Schick</c:v>
                </c:pt>
              </c:strCache>
            </c:strRef>
          </c:cat>
          <c:val>
            <c:numRef>
              <c:f>Sheet1!$C$2:$C$337</c:f>
              <c:numCache>
                <c:formatCode>General</c:formatCode>
                <c:ptCount val="336"/>
                <c:pt idx="0">
                  <c:v>5.5111046976871095E-2</c:v>
                </c:pt>
                <c:pt idx="1">
                  <c:v>0.10851469898097899</c:v>
                </c:pt>
                <c:pt idx="2">
                  <c:v>0.14446477073573616</c:v>
                </c:pt>
                <c:pt idx="3">
                  <c:v>0.1717159257232985</c:v>
                </c:pt>
                <c:pt idx="4">
                  <c:v>0.19884952815890175</c:v>
                </c:pt>
                <c:pt idx="5">
                  <c:v>0.2248677216175192</c:v>
                </c:pt>
                <c:pt idx="6">
                  <c:v>0.24867143162166533</c:v>
                </c:pt>
                <c:pt idx="7">
                  <c:v>0.27036093617567958</c:v>
                </c:pt>
                <c:pt idx="8">
                  <c:v>0.29198019772813916</c:v>
                </c:pt>
                <c:pt idx="9">
                  <c:v>0.31098822200215476</c:v>
                </c:pt>
                <c:pt idx="10">
                  <c:v>0.32871224990712017</c:v>
                </c:pt>
                <c:pt idx="11">
                  <c:v>0.34618262537262373</c:v>
                </c:pt>
                <c:pt idx="12">
                  <c:v>0.36361396789950667</c:v>
                </c:pt>
                <c:pt idx="13">
                  <c:v>0.37984566708809203</c:v>
                </c:pt>
                <c:pt idx="14">
                  <c:v>0.39597646234920891</c:v>
                </c:pt>
                <c:pt idx="15">
                  <c:v>0.41050138318075297</c:v>
                </c:pt>
                <c:pt idx="16">
                  <c:v>0.42487230132719384</c:v>
                </c:pt>
                <c:pt idx="17">
                  <c:v>0.43856752265819615</c:v>
                </c:pt>
                <c:pt idx="18">
                  <c:v>0.45163108284370895</c:v>
                </c:pt>
                <c:pt idx="19">
                  <c:v>0.4644066462574773</c:v>
                </c:pt>
                <c:pt idx="20">
                  <c:v>0.47688302306928798</c:v>
                </c:pt>
                <c:pt idx="21">
                  <c:v>0.48893975914301141</c:v>
                </c:pt>
                <c:pt idx="22">
                  <c:v>0.50079682341173259</c:v>
                </c:pt>
                <c:pt idx="23">
                  <c:v>0.51220697856634889</c:v>
                </c:pt>
                <c:pt idx="24">
                  <c:v>0.52359539859848203</c:v>
                </c:pt>
                <c:pt idx="25">
                  <c:v>0.53494722655951255</c:v>
                </c:pt>
                <c:pt idx="26">
                  <c:v>0.54621242350189714</c:v>
                </c:pt>
                <c:pt idx="27">
                  <c:v>0.55727327399405213</c:v>
                </c:pt>
                <c:pt idx="28">
                  <c:v>0.56798449639134818</c:v>
                </c:pt>
                <c:pt idx="29">
                  <c:v>0.57828333550126088</c:v>
                </c:pt>
                <c:pt idx="30">
                  <c:v>0.58851185947721374</c:v>
                </c:pt>
                <c:pt idx="31">
                  <c:v>0.59864194133488213</c:v>
                </c:pt>
                <c:pt idx="32">
                  <c:v>0.60838528413864179</c:v>
                </c:pt>
                <c:pt idx="33">
                  <c:v>0.61787531189644784</c:v>
                </c:pt>
                <c:pt idx="34">
                  <c:v>0.6272062388368993</c:v>
                </c:pt>
                <c:pt idx="35">
                  <c:v>0.63653178376918207</c:v>
                </c:pt>
                <c:pt idx="36">
                  <c:v>0.64578563839810255</c:v>
                </c:pt>
                <c:pt idx="37">
                  <c:v>0.6548453358607409</c:v>
                </c:pt>
                <c:pt idx="38">
                  <c:v>0.66352389034800308</c:v>
                </c:pt>
                <c:pt idx="39">
                  <c:v>0.67203272426638372</c:v>
                </c:pt>
                <c:pt idx="40">
                  <c:v>0.68048541590500056</c:v>
                </c:pt>
                <c:pt idx="41">
                  <c:v>0.68886187289872747</c:v>
                </c:pt>
                <c:pt idx="42">
                  <c:v>0.69714947673035799</c:v>
                </c:pt>
                <c:pt idx="43">
                  <c:v>0.70523470960892065</c:v>
                </c:pt>
                <c:pt idx="44">
                  <c:v>0.71331859058659886</c:v>
                </c:pt>
                <c:pt idx="45">
                  <c:v>0.72130156530995682</c:v>
                </c:pt>
                <c:pt idx="46">
                  <c:v>0.72896421165607794</c:v>
                </c:pt>
                <c:pt idx="47">
                  <c:v>0.73651990426010094</c:v>
                </c:pt>
                <c:pt idx="48">
                  <c:v>0.74405895754704043</c:v>
                </c:pt>
                <c:pt idx="49">
                  <c:v>0.75144606275899906</c:v>
                </c:pt>
                <c:pt idx="50">
                  <c:v>0.75880294682003036</c:v>
                </c:pt>
                <c:pt idx="51">
                  <c:v>0.76611845712954973</c:v>
                </c:pt>
                <c:pt idx="52">
                  <c:v>0.77341001482683891</c:v>
                </c:pt>
                <c:pt idx="53">
                  <c:v>0.78067250781853581</c:v>
                </c:pt>
                <c:pt idx="54">
                  <c:v>0.78790459118431122</c:v>
                </c:pt>
                <c:pt idx="55">
                  <c:v>0.79511293135451677</c:v>
                </c:pt>
                <c:pt idx="56">
                  <c:v>0.80186532724515325</c:v>
                </c:pt>
                <c:pt idx="57">
                  <c:v>0.80855623142378208</c:v>
                </c:pt>
                <c:pt idx="58">
                  <c:v>0.81516001827174289</c:v>
                </c:pt>
                <c:pt idx="59">
                  <c:v>0.82169800640505009</c:v>
                </c:pt>
                <c:pt idx="60">
                  <c:v>0.82821610460933615</c:v>
                </c:pt>
                <c:pt idx="61">
                  <c:v>0.8347242276000385</c:v>
                </c:pt>
                <c:pt idx="62">
                  <c:v>0.84115257447744085</c:v>
                </c:pt>
                <c:pt idx="63">
                  <c:v>0.8472737047873905</c:v>
                </c:pt>
                <c:pt idx="64">
                  <c:v>0.85331511017477923</c:v>
                </c:pt>
                <c:pt idx="65">
                  <c:v>0.85913553444855839</c:v>
                </c:pt>
                <c:pt idx="66">
                  <c:v>0.86474720288798368</c:v>
                </c:pt>
                <c:pt idx="67">
                  <c:v>0.87006650938172392</c:v>
                </c:pt>
                <c:pt idx="68">
                  <c:v>0.87524725650562929</c:v>
                </c:pt>
                <c:pt idx="69">
                  <c:v>0.88022352687560523</c:v>
                </c:pt>
                <c:pt idx="70">
                  <c:v>0.88510097817730826</c:v>
                </c:pt>
                <c:pt idx="71">
                  <c:v>0.88986119105204253</c:v>
                </c:pt>
                <c:pt idx="72">
                  <c:v>0.89446486962693628</c:v>
                </c:pt>
                <c:pt idx="73">
                  <c:v>0.89905879171231373</c:v>
                </c:pt>
                <c:pt idx="74">
                  <c:v>0.90364422311554349</c:v>
                </c:pt>
                <c:pt idx="75">
                  <c:v>0.9079871546798961</c:v>
                </c:pt>
                <c:pt idx="76">
                  <c:v>0.91214743536002207</c:v>
                </c:pt>
                <c:pt idx="77">
                  <c:v>0.91629229832024928</c:v>
                </c:pt>
                <c:pt idx="78">
                  <c:v>0.92018264325215227</c:v>
                </c:pt>
                <c:pt idx="79">
                  <c:v>0.9238563070925363</c:v>
                </c:pt>
                <c:pt idx="80">
                  <c:v>0.92729972662237192</c:v>
                </c:pt>
                <c:pt idx="81">
                  <c:v>0.9307103235809896</c:v>
                </c:pt>
                <c:pt idx="82">
                  <c:v>0.93401062776520383</c:v>
                </c:pt>
                <c:pt idx="83">
                  <c:v>0.93717066932407966</c:v>
                </c:pt>
                <c:pt idx="84">
                  <c:v>0.9403092526558342</c:v>
                </c:pt>
                <c:pt idx="85">
                  <c:v>0.94328616167216472</c:v>
                </c:pt>
                <c:pt idx="86">
                  <c:v>0.94618785753153711</c:v>
                </c:pt>
                <c:pt idx="87">
                  <c:v>0.9488189242408559</c:v>
                </c:pt>
                <c:pt idx="88">
                  <c:v>0.95144225882170752</c:v>
                </c:pt>
                <c:pt idx="89">
                  <c:v>0.9539522175495464</c:v>
                </c:pt>
                <c:pt idx="90">
                  <c:v>0.95639741999232941</c:v>
                </c:pt>
                <c:pt idx="91">
                  <c:v>0.9587817845684552</c:v>
                </c:pt>
                <c:pt idx="92">
                  <c:v>0.96105570745166358</c:v>
                </c:pt>
                <c:pt idx="93">
                  <c:v>0.96331855917409959</c:v>
                </c:pt>
                <c:pt idx="94">
                  <c:v>0.96544487821460157</c:v>
                </c:pt>
                <c:pt idx="95">
                  <c:v>0.96754662104659617</c:v>
                </c:pt>
                <c:pt idx="96">
                  <c:v>0.96959454612375584</c:v>
                </c:pt>
                <c:pt idx="97">
                  <c:v>0.97149799464700237</c:v>
                </c:pt>
                <c:pt idx="98">
                  <c:v>0.97340115464062815</c:v>
                </c:pt>
                <c:pt idx="99">
                  <c:v>0.97506048383615818</c:v>
                </c:pt>
                <c:pt idx="100">
                  <c:v>0.97671571311885064</c:v>
                </c:pt>
                <c:pt idx="101">
                  <c:v>0.97817961934072994</c:v>
                </c:pt>
                <c:pt idx="102">
                  <c:v>0.97959516892890353</c:v>
                </c:pt>
                <c:pt idx="103">
                  <c:v>0.98101009026709629</c:v>
                </c:pt>
                <c:pt idx="104">
                  <c:v>0.98233512299415027</c:v>
                </c:pt>
                <c:pt idx="105">
                  <c:v>0.98361956844559406</c:v>
                </c:pt>
                <c:pt idx="106">
                  <c:v>0.98479379325503968</c:v>
                </c:pt>
                <c:pt idx="107">
                  <c:v>0.98594447963187215</c:v>
                </c:pt>
                <c:pt idx="108">
                  <c:v>0.98702418772198719</c:v>
                </c:pt>
                <c:pt idx="109">
                  <c:v>0.98809173568469655</c:v>
                </c:pt>
                <c:pt idx="110">
                  <c:v>0.98907724118047147</c:v>
                </c:pt>
                <c:pt idx="111">
                  <c:v>0.99002136594417911</c:v>
                </c:pt>
                <c:pt idx="112">
                  <c:v>0.9909583612340308</c:v>
                </c:pt>
                <c:pt idx="113">
                  <c:v>0.99187799122904341</c:v>
                </c:pt>
                <c:pt idx="114">
                  <c:v>0.99277264247019059</c:v>
                </c:pt>
                <c:pt idx="115">
                  <c:v>0.99356757647827743</c:v>
                </c:pt>
                <c:pt idx="116">
                  <c:v>0.99436174262527666</c:v>
                </c:pt>
                <c:pt idx="117">
                  <c:v>0.99515002649097439</c:v>
                </c:pt>
                <c:pt idx="118">
                  <c:v>0.99590607415210275</c:v>
                </c:pt>
                <c:pt idx="119">
                  <c:v>0.99661913089973164</c:v>
                </c:pt>
                <c:pt idx="120">
                  <c:v>0.99724228274825921</c:v>
                </c:pt>
                <c:pt idx="121">
                  <c:v>0.99782340467307273</c:v>
                </c:pt>
                <c:pt idx="122">
                  <c:v>0.99835327303371357</c:v>
                </c:pt>
                <c:pt idx="123">
                  <c:v>0.99886061979596941</c:v>
                </c:pt>
                <c:pt idx="124">
                  <c:v>0.99912796343130872</c:v>
                </c:pt>
                <c:pt idx="125">
                  <c:v>0.99935344932996562</c:v>
                </c:pt>
                <c:pt idx="126">
                  <c:v>0.99955553873396796</c:v>
                </c:pt>
                <c:pt idx="127">
                  <c:v>0.99965310828283471</c:v>
                </c:pt>
                <c:pt idx="128">
                  <c:v>0.99973200251930983</c:v>
                </c:pt>
                <c:pt idx="129">
                  <c:v>0.99979155363693228</c:v>
                </c:pt>
                <c:pt idx="130">
                  <c:v>0.99981760041576506</c:v>
                </c:pt>
                <c:pt idx="131">
                  <c:v>0.99983602908186786</c:v>
                </c:pt>
                <c:pt idx="132">
                  <c:v>0.99985186796193881</c:v>
                </c:pt>
                <c:pt idx="133">
                  <c:v>0.99986310200233586</c:v>
                </c:pt>
                <c:pt idx="134">
                  <c:v>0.99987324474924777</c:v>
                </c:pt>
                <c:pt idx="135">
                  <c:v>0.99988194252120388</c:v>
                </c:pt>
                <c:pt idx="136">
                  <c:v>0.99989045414501754</c:v>
                </c:pt>
                <c:pt idx="137">
                  <c:v>0.9998987493716156</c:v>
                </c:pt>
                <c:pt idx="138">
                  <c:v>0.99990655130563622</c:v>
                </c:pt>
                <c:pt idx="139">
                  <c:v>0.99991430437576934</c:v>
                </c:pt>
                <c:pt idx="140">
                  <c:v>0.99992000516263191</c:v>
                </c:pt>
                <c:pt idx="141">
                  <c:v>0.99992508235321731</c:v>
                </c:pt>
                <c:pt idx="142">
                  <c:v>0.99992975001788931</c:v>
                </c:pt>
                <c:pt idx="143">
                  <c:v>0.99993408261590488</c:v>
                </c:pt>
                <c:pt idx="144">
                  <c:v>0.99993805222504273</c:v>
                </c:pt>
                <c:pt idx="145">
                  <c:v>0.99994147967771563</c:v>
                </c:pt>
                <c:pt idx="146">
                  <c:v>0.99994480707576194</c:v>
                </c:pt>
                <c:pt idx="147">
                  <c:v>0.99994809724417977</c:v>
                </c:pt>
                <c:pt idx="148">
                  <c:v>0.99995051484317987</c:v>
                </c:pt>
                <c:pt idx="149">
                  <c:v>0.99995245311071312</c:v>
                </c:pt>
                <c:pt idx="150">
                  <c:v>0.99995435414861789</c:v>
                </c:pt>
                <c:pt idx="151">
                  <c:v>0.99995620166893173</c:v>
                </c:pt>
                <c:pt idx="152">
                  <c:v>0.99995803755498669</c:v>
                </c:pt>
                <c:pt idx="153">
                  <c:v>0.99995985947993093</c:v>
                </c:pt>
                <c:pt idx="154">
                  <c:v>0.99996161159932173</c:v>
                </c:pt>
                <c:pt idx="155">
                  <c:v>0.99996326366408606</c:v>
                </c:pt>
                <c:pt idx="156">
                  <c:v>0.99996482265477915</c:v>
                </c:pt>
                <c:pt idx="157">
                  <c:v>0.99996636768436153</c:v>
                </c:pt>
                <c:pt idx="158">
                  <c:v>0.99996788246487078</c:v>
                </c:pt>
                <c:pt idx="159">
                  <c:v>0.99996933674723365</c:v>
                </c:pt>
                <c:pt idx="160">
                  <c:v>0.9999707631073752</c:v>
                </c:pt>
                <c:pt idx="161">
                  <c:v>0.99997198703141188</c:v>
                </c:pt>
                <c:pt idx="162">
                  <c:v>0.99997306901748984</c:v>
                </c:pt>
                <c:pt idx="163">
                  <c:v>0.99997391599153795</c:v>
                </c:pt>
                <c:pt idx="164">
                  <c:v>0.99997475365817901</c:v>
                </c:pt>
                <c:pt idx="165">
                  <c:v>0.99997554478778439</c:v>
                </c:pt>
                <c:pt idx="166">
                  <c:v>0.99997630566831663</c:v>
                </c:pt>
                <c:pt idx="167">
                  <c:v>0.99997705724144181</c:v>
                </c:pt>
                <c:pt idx="168">
                  <c:v>0.99997778321919739</c:v>
                </c:pt>
                <c:pt idx="169">
                  <c:v>0.99997848592843519</c:v>
                </c:pt>
                <c:pt idx="170">
                  <c:v>0.99997914442748914</c:v>
                </c:pt>
                <c:pt idx="171">
                  <c:v>0.99997977733117349</c:v>
                </c:pt>
                <c:pt idx="172">
                  <c:v>0.99998040558115431</c:v>
                </c:pt>
                <c:pt idx="173">
                  <c:v>0.99998101754317259</c:v>
                </c:pt>
                <c:pt idx="174">
                  <c:v>0.9999816201977838</c:v>
                </c:pt>
                <c:pt idx="175">
                  <c:v>0.99998221587183966</c:v>
                </c:pt>
                <c:pt idx="176">
                  <c:v>0.99998279758478481</c:v>
                </c:pt>
                <c:pt idx="177">
                  <c:v>0.99998336068291571</c:v>
                </c:pt>
                <c:pt idx="178">
                  <c:v>0.99998388422456641</c:v>
                </c:pt>
                <c:pt idx="179">
                  <c:v>0.99998437984399569</c:v>
                </c:pt>
                <c:pt idx="180">
                  <c:v>0.99998485917546254</c:v>
                </c:pt>
                <c:pt idx="181">
                  <c:v>0.99998531989211514</c:v>
                </c:pt>
                <c:pt idx="182">
                  <c:v>0.99998576432080521</c:v>
                </c:pt>
                <c:pt idx="183">
                  <c:v>0.99998619478838469</c:v>
                </c:pt>
                <c:pt idx="184">
                  <c:v>0.99998660198744627</c:v>
                </c:pt>
                <c:pt idx="185">
                  <c:v>0.99998700453280431</c:v>
                </c:pt>
                <c:pt idx="186">
                  <c:v>0.99998738148279276</c:v>
                </c:pt>
                <c:pt idx="187">
                  <c:v>0.99998774912537414</c:v>
                </c:pt>
                <c:pt idx="188">
                  <c:v>0.99998810978740016</c:v>
                </c:pt>
                <c:pt idx="189">
                  <c:v>0.99998847044942618</c:v>
                </c:pt>
                <c:pt idx="190">
                  <c:v>0.99998881947719331</c:v>
                </c:pt>
                <c:pt idx="191">
                  <c:v>0.99998916617810862</c:v>
                </c:pt>
                <c:pt idx="192">
                  <c:v>0.99998950357161687</c:v>
                </c:pt>
                <c:pt idx="193">
                  <c:v>0.99998983398456975</c:v>
                </c:pt>
                <c:pt idx="194">
                  <c:v>0.99999016207067082</c:v>
                </c:pt>
                <c:pt idx="195">
                  <c:v>0.99999047619566117</c:v>
                </c:pt>
                <c:pt idx="196">
                  <c:v>0.99999076007157839</c:v>
                </c:pt>
                <c:pt idx="197">
                  <c:v>0.99999103929379207</c:v>
                </c:pt>
                <c:pt idx="198">
                  <c:v>0.99999131618915393</c:v>
                </c:pt>
                <c:pt idx="199">
                  <c:v>0.99999158843081226</c:v>
                </c:pt>
                <c:pt idx="200">
                  <c:v>0.99999183740395281</c:v>
                </c:pt>
                <c:pt idx="201">
                  <c:v>0.99999206543542729</c:v>
                </c:pt>
                <c:pt idx="202">
                  <c:v>0.99999228648634642</c:v>
                </c:pt>
                <c:pt idx="203">
                  <c:v>0.99999249357615494</c:v>
                </c:pt>
                <c:pt idx="204">
                  <c:v>0.99999269833911164</c:v>
                </c:pt>
                <c:pt idx="205">
                  <c:v>0.99999289844836481</c:v>
                </c:pt>
                <c:pt idx="206">
                  <c:v>0.99999309623076615</c:v>
                </c:pt>
                <c:pt idx="207">
                  <c:v>0.99999328935946397</c:v>
                </c:pt>
                <c:pt idx="208">
                  <c:v>0.9999934731807546</c:v>
                </c:pt>
                <c:pt idx="209">
                  <c:v>0.99999365002148988</c:v>
                </c:pt>
                <c:pt idx="210">
                  <c:v>0.99999382453537344</c:v>
                </c:pt>
                <c:pt idx="211">
                  <c:v>0.99999399206870165</c:v>
                </c:pt>
                <c:pt idx="212">
                  <c:v>0.99999415960202986</c:v>
                </c:pt>
                <c:pt idx="213">
                  <c:v>0.99999431084739565</c:v>
                </c:pt>
                <c:pt idx="214">
                  <c:v>0.99999446209276144</c:v>
                </c:pt>
                <c:pt idx="215">
                  <c:v>0.99999460868442358</c:v>
                </c:pt>
                <c:pt idx="216">
                  <c:v>0.99999474829553037</c:v>
                </c:pt>
                <c:pt idx="217">
                  <c:v>0.99999488557978544</c:v>
                </c:pt>
                <c:pt idx="218">
                  <c:v>0.99999502286404052</c:v>
                </c:pt>
                <c:pt idx="219">
                  <c:v>0.99999516014829559</c:v>
                </c:pt>
                <c:pt idx="220">
                  <c:v>0.99999529510569884</c:v>
                </c:pt>
                <c:pt idx="221">
                  <c:v>0.99999542773625039</c:v>
                </c:pt>
                <c:pt idx="222">
                  <c:v>0.99999556036680193</c:v>
                </c:pt>
                <c:pt idx="223">
                  <c:v>0.99999569067050165</c:v>
                </c:pt>
                <c:pt idx="224">
                  <c:v>0.99999581632049783</c:v>
                </c:pt>
                <c:pt idx="225">
                  <c:v>0.9999959396436422</c:v>
                </c:pt>
                <c:pt idx="226">
                  <c:v>0.99999605831308302</c:v>
                </c:pt>
                <c:pt idx="227">
                  <c:v>0.99999616534826496</c:v>
                </c:pt>
                <c:pt idx="228">
                  <c:v>0.9999962723834469</c:v>
                </c:pt>
                <c:pt idx="229">
                  <c:v>0.9999963747649252</c:v>
                </c:pt>
                <c:pt idx="230">
                  <c:v>0.99999647016584825</c:v>
                </c:pt>
                <c:pt idx="231">
                  <c:v>0.99999656091306766</c:v>
                </c:pt>
                <c:pt idx="232">
                  <c:v>0.99999665166028706</c:v>
                </c:pt>
                <c:pt idx="233">
                  <c:v>0.99999674240750647</c:v>
                </c:pt>
                <c:pt idx="234">
                  <c:v>0.99999683082787416</c:v>
                </c:pt>
                <c:pt idx="235">
                  <c:v>0.99999691692139003</c:v>
                </c:pt>
                <c:pt idx="236">
                  <c:v>0.99999700068805408</c:v>
                </c:pt>
                <c:pt idx="237">
                  <c:v>0.99999708445471813</c:v>
                </c:pt>
                <c:pt idx="238">
                  <c:v>0.99999716822138218</c:v>
                </c:pt>
                <c:pt idx="239">
                  <c:v>0.99999724966119452</c:v>
                </c:pt>
                <c:pt idx="240">
                  <c:v>0.99999732877415504</c:v>
                </c:pt>
                <c:pt idx="241">
                  <c:v>0.99999740556026384</c:v>
                </c:pt>
                <c:pt idx="242">
                  <c:v>0.999997477692669</c:v>
                </c:pt>
                <c:pt idx="243">
                  <c:v>0.99999754749822245</c:v>
                </c:pt>
                <c:pt idx="244">
                  <c:v>0.9999976173037759</c:v>
                </c:pt>
                <c:pt idx="245">
                  <c:v>0.9999976824556257</c:v>
                </c:pt>
                <c:pt idx="246">
                  <c:v>0.9999977452806238</c:v>
                </c:pt>
                <c:pt idx="247">
                  <c:v>0.99999780810562189</c:v>
                </c:pt>
                <c:pt idx="248">
                  <c:v>0.99999786860376816</c:v>
                </c:pt>
                <c:pt idx="249">
                  <c:v>0.99999792910191443</c:v>
                </c:pt>
                <c:pt idx="250">
                  <c:v>0.9999979896000607</c:v>
                </c:pt>
                <c:pt idx="251">
                  <c:v>0.99999804777135526</c:v>
                </c:pt>
                <c:pt idx="252">
                  <c:v>0.99999810594264982</c:v>
                </c:pt>
                <c:pt idx="253">
                  <c:v>0.99999816178709255</c:v>
                </c:pt>
                <c:pt idx="254">
                  <c:v>0.99999821763153529</c:v>
                </c:pt>
                <c:pt idx="255">
                  <c:v>0.99999827114912621</c:v>
                </c:pt>
                <c:pt idx="256">
                  <c:v>0.99999832233986541</c:v>
                </c:pt>
                <c:pt idx="257">
                  <c:v>0.99999837120375279</c:v>
                </c:pt>
                <c:pt idx="258">
                  <c:v>0.99999842006764017</c:v>
                </c:pt>
                <c:pt idx="259">
                  <c:v>0.99999846893152755</c:v>
                </c:pt>
                <c:pt idx="260">
                  <c:v>0.99999851546856311</c:v>
                </c:pt>
                <c:pt idx="261">
                  <c:v>0.99999856200559867</c:v>
                </c:pt>
                <c:pt idx="262">
                  <c:v>0.99999860621578252</c:v>
                </c:pt>
                <c:pt idx="263">
                  <c:v>0.99999864577226283</c:v>
                </c:pt>
                <c:pt idx="264">
                  <c:v>0.99999868532874314</c:v>
                </c:pt>
                <c:pt idx="265">
                  <c:v>0.99999872488522346</c:v>
                </c:pt>
                <c:pt idx="266">
                  <c:v>0.99999876444170377</c:v>
                </c:pt>
                <c:pt idx="267">
                  <c:v>0.99999880399818408</c:v>
                </c:pt>
                <c:pt idx="268">
                  <c:v>0.99999884122781257</c:v>
                </c:pt>
                <c:pt idx="269">
                  <c:v>0.99999887613058924</c:v>
                </c:pt>
                <c:pt idx="270">
                  <c:v>0.99999891103336591</c:v>
                </c:pt>
                <c:pt idx="271">
                  <c:v>0.99999894593614258</c:v>
                </c:pt>
                <c:pt idx="272">
                  <c:v>0.99999898083891925</c:v>
                </c:pt>
                <c:pt idx="273">
                  <c:v>0.99999901574169592</c:v>
                </c:pt>
                <c:pt idx="274">
                  <c:v>0.99999905064447259</c:v>
                </c:pt>
                <c:pt idx="275">
                  <c:v>0.99999908322039754</c:v>
                </c:pt>
                <c:pt idx="276">
                  <c:v>0.9999991157963225</c:v>
                </c:pt>
                <c:pt idx="277">
                  <c:v>0.99999914837224746</c:v>
                </c:pt>
                <c:pt idx="278">
                  <c:v>0.99999918094817242</c:v>
                </c:pt>
                <c:pt idx="279">
                  <c:v>0.99999921352409737</c:v>
                </c:pt>
                <c:pt idx="280">
                  <c:v>0.99999924377317051</c:v>
                </c:pt>
                <c:pt idx="281">
                  <c:v>0.99999927402224364</c:v>
                </c:pt>
                <c:pt idx="282">
                  <c:v>0.99999930427131678</c:v>
                </c:pt>
                <c:pt idx="283">
                  <c:v>0.99999933219353809</c:v>
                </c:pt>
                <c:pt idx="284">
                  <c:v>0.99999935778890769</c:v>
                </c:pt>
                <c:pt idx="285">
                  <c:v>0.9999993833842773</c:v>
                </c:pt>
                <c:pt idx="286">
                  <c:v>0.9999994089796469</c:v>
                </c:pt>
                <c:pt idx="287">
                  <c:v>0.99999943224816468</c:v>
                </c:pt>
                <c:pt idx="288">
                  <c:v>0.99999945551668246</c:v>
                </c:pt>
                <c:pt idx="289">
                  <c:v>0.99999947878520024</c:v>
                </c:pt>
                <c:pt idx="290">
                  <c:v>0.99999950205371801</c:v>
                </c:pt>
                <c:pt idx="291">
                  <c:v>0.99999952299538408</c:v>
                </c:pt>
                <c:pt idx="292">
                  <c:v>0.99999954393705015</c:v>
                </c:pt>
                <c:pt idx="293">
                  <c:v>0.99999956487871622</c:v>
                </c:pt>
                <c:pt idx="294">
                  <c:v>0.99999958582038229</c:v>
                </c:pt>
                <c:pt idx="295">
                  <c:v>0.99999960676204835</c:v>
                </c:pt>
                <c:pt idx="296">
                  <c:v>0.99999962770371442</c:v>
                </c:pt>
                <c:pt idx="297">
                  <c:v>0.99999964631852867</c:v>
                </c:pt>
                <c:pt idx="298">
                  <c:v>0.99999966260649109</c:v>
                </c:pt>
                <c:pt idx="299">
                  <c:v>0.99999967889445351</c:v>
                </c:pt>
                <c:pt idx="300">
                  <c:v>0.99999969518241594</c:v>
                </c:pt>
                <c:pt idx="301">
                  <c:v>0.99999971147037836</c:v>
                </c:pt>
                <c:pt idx="302">
                  <c:v>0.99999972775834078</c:v>
                </c:pt>
                <c:pt idx="303">
                  <c:v>0.99999974404630321</c:v>
                </c:pt>
                <c:pt idx="304">
                  <c:v>0.99999976033426563</c:v>
                </c:pt>
                <c:pt idx="305">
                  <c:v>0.99999977662222805</c:v>
                </c:pt>
                <c:pt idx="306">
                  <c:v>0.99999979291019048</c:v>
                </c:pt>
                <c:pt idx="307">
                  <c:v>0.9999998091981529</c:v>
                </c:pt>
                <c:pt idx="308">
                  <c:v>0.99999982315926361</c:v>
                </c:pt>
                <c:pt idx="309">
                  <c:v>0.99999983712037432</c:v>
                </c:pt>
                <c:pt idx="310">
                  <c:v>0.99999984875463321</c:v>
                </c:pt>
                <c:pt idx="311">
                  <c:v>0.9999998603888921</c:v>
                </c:pt>
                <c:pt idx="312">
                  <c:v>0.99999987202315099</c:v>
                </c:pt>
                <c:pt idx="313">
                  <c:v>0.99999988133055806</c:v>
                </c:pt>
                <c:pt idx="314">
                  <c:v>0.99999989063796513</c:v>
                </c:pt>
                <c:pt idx="315">
                  <c:v>0.99999989994537219</c:v>
                </c:pt>
                <c:pt idx="316">
                  <c:v>0.99999990925277926</c:v>
                </c:pt>
                <c:pt idx="317">
                  <c:v>0.99999991623333462</c:v>
                </c:pt>
                <c:pt idx="318">
                  <c:v>0.99999992321388997</c:v>
                </c:pt>
                <c:pt idx="319">
                  <c:v>0.99999993019444533</c:v>
                </c:pt>
                <c:pt idx="320">
                  <c:v>0.99999993717500069</c:v>
                </c:pt>
                <c:pt idx="321">
                  <c:v>0.99999994415555604</c:v>
                </c:pt>
                <c:pt idx="322">
                  <c:v>0.99999994880925958</c:v>
                </c:pt>
                <c:pt idx="323">
                  <c:v>0.99999995346296311</c:v>
                </c:pt>
                <c:pt idx="324">
                  <c:v>0.99999995811666664</c:v>
                </c:pt>
                <c:pt idx="325">
                  <c:v>0.99999996277037018</c:v>
                </c:pt>
                <c:pt idx="326">
                  <c:v>0.99999996742407371</c:v>
                </c:pt>
                <c:pt idx="327">
                  <c:v>0.99999997207777724</c:v>
                </c:pt>
                <c:pt idx="328">
                  <c:v>0.99999997673148078</c:v>
                </c:pt>
                <c:pt idx="329">
                  <c:v>0.99999998138518431</c:v>
                </c:pt>
                <c:pt idx="330">
                  <c:v>0.99999998603888784</c:v>
                </c:pt>
                <c:pt idx="331">
                  <c:v>0.99999999069259138</c:v>
                </c:pt>
                <c:pt idx="332">
                  <c:v>0.9999999930194432</c:v>
                </c:pt>
                <c:pt idx="333">
                  <c:v>0.99999999534629502</c:v>
                </c:pt>
                <c:pt idx="334">
                  <c:v>0.99999999767314685</c:v>
                </c:pt>
                <c:pt idx="335">
                  <c:v>0.999999999999998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2</c:f>
              <c:strCache>
                <c:ptCount val="121"/>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pt idx="13">
                  <c:v>Schick</c:v>
                </c:pt>
                <c:pt idx="14">
                  <c:v>Gillette</c:v>
                </c:pt>
                <c:pt idx="15">
                  <c:v>Equate</c:v>
                </c:pt>
                <c:pt idx="16">
                  <c:v>Gillette</c:v>
                </c:pt>
                <c:pt idx="17">
                  <c:v>Gillette</c:v>
                </c:pt>
                <c:pt idx="18">
                  <c:v>Equate</c:v>
                </c:pt>
                <c:pt idx="19">
                  <c:v>Bic</c:v>
                </c:pt>
                <c:pt idx="20">
                  <c:v>Gillette</c:v>
                </c:pt>
                <c:pt idx="21">
                  <c:v>Bic</c:v>
                </c:pt>
                <c:pt idx="22">
                  <c:v>Equate</c:v>
                </c:pt>
                <c:pt idx="23">
                  <c:v>Bic</c:v>
                </c:pt>
                <c:pt idx="24">
                  <c:v>Bic</c:v>
                </c:pt>
                <c:pt idx="25">
                  <c:v>Equate</c:v>
                </c:pt>
                <c:pt idx="26">
                  <c:v>Gillette</c:v>
                </c:pt>
                <c:pt idx="27">
                  <c:v>Schick</c:v>
                </c:pt>
                <c:pt idx="28">
                  <c:v>Bic</c:v>
                </c:pt>
                <c:pt idx="29">
                  <c:v>Gillette</c:v>
                </c:pt>
                <c:pt idx="30">
                  <c:v>Gillette</c:v>
                </c:pt>
                <c:pt idx="31">
                  <c:v>Bic</c:v>
                </c:pt>
                <c:pt idx="32">
                  <c:v>Equate</c:v>
                </c:pt>
                <c:pt idx="33">
                  <c:v>Bic</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Gillette</c:v>
                </c:pt>
                <c:pt idx="48">
                  <c:v>Bic</c:v>
                </c:pt>
                <c:pt idx="49">
                  <c:v>Harry's</c:v>
                </c:pt>
                <c:pt idx="50">
                  <c:v>Harry's</c:v>
                </c:pt>
                <c:pt idx="51">
                  <c:v>Gillette</c:v>
                </c:pt>
                <c:pt idx="52">
                  <c:v>Bic</c:v>
                </c:pt>
                <c:pt idx="53">
                  <c:v>Equate</c:v>
                </c:pt>
                <c:pt idx="54">
                  <c:v>Gillette</c:v>
                </c:pt>
                <c:pt idx="55">
                  <c:v>Gillette</c:v>
                </c:pt>
                <c:pt idx="56">
                  <c:v>Schick</c:v>
                </c:pt>
                <c:pt idx="57">
                  <c:v>Gillette</c:v>
                </c:pt>
                <c:pt idx="58">
                  <c:v>Schick</c:v>
                </c:pt>
                <c:pt idx="59">
                  <c:v>Schick</c:v>
                </c:pt>
                <c:pt idx="60">
                  <c:v>Bic</c:v>
                </c:pt>
                <c:pt idx="61">
                  <c:v>Gillette</c:v>
                </c:pt>
                <c:pt idx="62">
                  <c:v>Harry's</c:v>
                </c:pt>
                <c:pt idx="63">
                  <c:v>Gillette</c:v>
                </c:pt>
                <c:pt idx="64">
                  <c:v>Schick</c:v>
                </c:pt>
                <c:pt idx="65">
                  <c:v>Schick</c:v>
                </c:pt>
                <c:pt idx="66">
                  <c:v>Gillette</c:v>
                </c:pt>
                <c:pt idx="67">
                  <c:v>Bic</c:v>
                </c:pt>
                <c:pt idx="68">
                  <c:v>Gillette</c:v>
                </c:pt>
                <c:pt idx="69">
                  <c:v>Equate</c:v>
                </c:pt>
                <c:pt idx="70">
                  <c:v>Gillette</c:v>
                </c:pt>
                <c:pt idx="71">
                  <c:v>Bic</c:v>
                </c:pt>
                <c:pt idx="72">
                  <c:v>Schick</c:v>
                </c:pt>
                <c:pt idx="73">
                  <c:v>Gillette</c:v>
                </c:pt>
                <c:pt idx="74">
                  <c:v>Schick</c:v>
                </c:pt>
                <c:pt idx="75">
                  <c:v>Schick</c:v>
                </c:pt>
                <c:pt idx="76">
                  <c:v>Bic</c:v>
                </c:pt>
                <c:pt idx="77">
                  <c:v>Schick</c:v>
                </c:pt>
                <c:pt idx="78">
                  <c:v>Bic</c:v>
                </c:pt>
                <c:pt idx="79">
                  <c:v>Bic</c:v>
                </c:pt>
                <c:pt idx="80">
                  <c:v>Equate</c:v>
                </c:pt>
                <c:pt idx="81">
                  <c:v>Bic</c:v>
                </c:pt>
                <c:pt idx="82">
                  <c:v>Equate</c:v>
                </c:pt>
                <c:pt idx="83">
                  <c:v>Bic</c:v>
                </c:pt>
                <c:pt idx="84">
                  <c:v>Schick</c:v>
                </c:pt>
                <c:pt idx="85">
                  <c:v>Schick</c:v>
                </c:pt>
                <c:pt idx="86">
                  <c:v>Bic</c:v>
                </c:pt>
                <c:pt idx="87">
                  <c:v>Gillette</c:v>
                </c:pt>
                <c:pt idx="88">
                  <c:v>Gillette</c:v>
                </c:pt>
                <c:pt idx="89">
                  <c:v>Bic</c:v>
                </c:pt>
                <c:pt idx="90">
                  <c:v>Schick</c:v>
                </c:pt>
                <c:pt idx="91">
                  <c:v>Gillette</c:v>
                </c:pt>
                <c:pt idx="92">
                  <c:v>Schick</c:v>
                </c:pt>
                <c:pt idx="93">
                  <c:v>Gillette</c:v>
                </c:pt>
                <c:pt idx="94">
                  <c:v>Schick</c:v>
                </c:pt>
                <c:pt idx="95">
                  <c:v>Barbasol</c:v>
                </c:pt>
                <c:pt idx="96">
                  <c:v>Equate</c:v>
                </c:pt>
                <c:pt idx="97">
                  <c:v>Gillette</c:v>
                </c:pt>
                <c:pt idx="98">
                  <c:v>Schick</c:v>
                </c:pt>
                <c:pt idx="99">
                  <c:v>Edgewell Pe</c:v>
                </c:pt>
                <c:pt idx="100">
                  <c:v>Gillette</c:v>
                </c:pt>
                <c:pt idx="101">
                  <c:v>Bic</c:v>
                </c:pt>
                <c:pt idx="102">
                  <c:v>Bic</c:v>
                </c:pt>
                <c:pt idx="103">
                  <c:v>Schick</c:v>
                </c:pt>
                <c:pt idx="104">
                  <c:v>Barbasol</c:v>
                </c:pt>
                <c:pt idx="105">
                  <c:v>Gillette</c:v>
                </c:pt>
                <c:pt idx="106">
                  <c:v>Gillette</c:v>
                </c:pt>
                <c:pt idx="107">
                  <c:v>Personna</c:v>
                </c:pt>
                <c:pt idx="108">
                  <c:v>Equate</c:v>
                </c:pt>
                <c:pt idx="109">
                  <c:v>Gillette</c:v>
                </c:pt>
                <c:pt idx="110">
                  <c:v>Schick</c:v>
                </c:pt>
                <c:pt idx="111">
                  <c:v>Schick</c:v>
                </c:pt>
                <c:pt idx="112">
                  <c:v>Schick</c:v>
                </c:pt>
                <c:pt idx="113">
                  <c:v>Bic</c:v>
                </c:pt>
                <c:pt idx="114">
                  <c:v>Bic</c:v>
                </c:pt>
                <c:pt idx="115">
                  <c:v>Schick</c:v>
                </c:pt>
                <c:pt idx="116">
                  <c:v>Gillette</c:v>
                </c:pt>
                <c:pt idx="117">
                  <c:v>Bic</c:v>
                </c:pt>
                <c:pt idx="118">
                  <c:v>Gillette</c:v>
                </c:pt>
                <c:pt idx="119">
                  <c:v>Schick</c:v>
                </c:pt>
                <c:pt idx="120">
                  <c:v>Gillette</c:v>
                </c:pt>
              </c:strCache>
            </c:strRef>
          </c:cat>
          <c:val>
            <c:numRef>
              <c:f>Sheet1!$B$2:$B$122</c:f>
              <c:numCache>
                <c:formatCode>General</c:formatCode>
                <c:ptCount val="121"/>
                <c:pt idx="0">
                  <c:v>0.91</c:v>
                </c:pt>
                <c:pt idx="1">
                  <c:v>0.97499999999999998</c:v>
                </c:pt>
                <c:pt idx="2">
                  <c:v>0.98499999999999999</c:v>
                </c:pt>
                <c:pt idx="3">
                  <c:v>0.94199999999999995</c:v>
                </c:pt>
                <c:pt idx="4">
                  <c:v>0.85199999999999998</c:v>
                </c:pt>
                <c:pt idx="5">
                  <c:v>0.96299999999999997</c:v>
                </c:pt>
                <c:pt idx="6">
                  <c:v>0.95</c:v>
                </c:pt>
                <c:pt idx="7">
                  <c:v>0.98699999999999999</c:v>
                </c:pt>
                <c:pt idx="8">
                  <c:v>0.80400000000000005</c:v>
                </c:pt>
                <c:pt idx="9">
                  <c:v>0.66500000000000004</c:v>
                </c:pt>
                <c:pt idx="10">
                  <c:v>0.93899999999999995</c:v>
                </c:pt>
                <c:pt idx="11">
                  <c:v>0.85699999999999998</c:v>
                </c:pt>
                <c:pt idx="12">
                  <c:v>0.79300000000000004</c:v>
                </c:pt>
                <c:pt idx="13">
                  <c:v>0.95</c:v>
                </c:pt>
                <c:pt idx="14">
                  <c:v>0.60899999999999999</c:v>
                </c:pt>
                <c:pt idx="15">
                  <c:v>0.98799999999999999</c:v>
                </c:pt>
                <c:pt idx="16">
                  <c:v>0.89100000000000001</c:v>
                </c:pt>
                <c:pt idx="17">
                  <c:v>0.82399999999999995</c:v>
                </c:pt>
                <c:pt idx="18">
                  <c:v>0.91100000000000003</c:v>
                </c:pt>
                <c:pt idx="19">
                  <c:v>0.78200000000000003</c:v>
                </c:pt>
                <c:pt idx="20">
                  <c:v>0.64600000000000002</c:v>
                </c:pt>
                <c:pt idx="21">
                  <c:v>0.88</c:v>
                </c:pt>
                <c:pt idx="22">
                  <c:v>0.95899999999999996</c:v>
                </c:pt>
                <c:pt idx="23">
                  <c:v>0.89700000000000002</c:v>
                </c:pt>
                <c:pt idx="24">
                  <c:v>0.95299999999999996</c:v>
                </c:pt>
                <c:pt idx="25">
                  <c:v>0.93799999999999994</c:v>
                </c:pt>
                <c:pt idx="26">
                  <c:v>0.63400000000000001</c:v>
                </c:pt>
                <c:pt idx="27">
                  <c:v>0.70099999999999996</c:v>
                </c:pt>
                <c:pt idx="28">
                  <c:v>0.877</c:v>
                </c:pt>
                <c:pt idx="29">
                  <c:v>0.63200000000000001</c:v>
                </c:pt>
                <c:pt idx="30">
                  <c:v>0.65200000000000002</c:v>
                </c:pt>
                <c:pt idx="31">
                  <c:v>0.80500000000000005</c:v>
                </c:pt>
                <c:pt idx="32">
                  <c:v>0.97799999999999998</c:v>
                </c:pt>
                <c:pt idx="33">
                  <c:v>0.82199999999999995</c:v>
                </c:pt>
                <c:pt idx="34">
                  <c:v>0.76</c:v>
                </c:pt>
                <c:pt idx="35">
                  <c:v>0.75900000000000001</c:v>
                </c:pt>
                <c:pt idx="36">
                  <c:v>0.68200000000000005</c:v>
                </c:pt>
                <c:pt idx="37">
                  <c:v>0.72199999999999998</c:v>
                </c:pt>
                <c:pt idx="38">
                  <c:v>0.45500000000000002</c:v>
                </c:pt>
                <c:pt idx="39">
                  <c:v>0.753</c:v>
                </c:pt>
                <c:pt idx="40">
                  <c:v>0.54400000000000004</c:v>
                </c:pt>
                <c:pt idx="41">
                  <c:v>0.84399999999999997</c:v>
                </c:pt>
                <c:pt idx="42">
                  <c:v>0.89600000000000002</c:v>
                </c:pt>
                <c:pt idx="43">
                  <c:v>0.81699999999999995</c:v>
                </c:pt>
                <c:pt idx="44">
                  <c:v>0.59599999999999997</c:v>
                </c:pt>
                <c:pt idx="45">
                  <c:v>0.63400000000000001</c:v>
                </c:pt>
                <c:pt idx="46">
                  <c:v>0.72199999999999998</c:v>
                </c:pt>
                <c:pt idx="47">
                  <c:v>0.53400000000000003</c:v>
                </c:pt>
                <c:pt idx="48">
                  <c:v>0.498</c:v>
                </c:pt>
                <c:pt idx="49">
                  <c:v>0.65500000000000003</c:v>
                </c:pt>
                <c:pt idx="50">
                  <c:v>0.52500000000000002</c:v>
                </c:pt>
                <c:pt idx="51">
                  <c:v>0.32200000000000001</c:v>
                </c:pt>
                <c:pt idx="52">
                  <c:v>1.0999999999999999E-2</c:v>
                </c:pt>
                <c:pt idx="53">
                  <c:v>1.2E-2</c:v>
                </c:pt>
                <c:pt idx="54">
                  <c:v>0.01</c:v>
                </c:pt>
                <c:pt idx="55">
                  <c:v>0.01</c:v>
                </c:pt>
                <c:pt idx="56">
                  <c:v>0.01</c:v>
                </c:pt>
                <c:pt idx="57">
                  <c:v>0.01</c:v>
                </c:pt>
                <c:pt idx="58">
                  <c:v>0.01</c:v>
                </c:pt>
                <c:pt idx="59">
                  <c:v>8.9999999999999993E-3</c:v>
                </c:pt>
                <c:pt idx="60">
                  <c:v>8.9999999999999993E-3</c:v>
                </c:pt>
                <c:pt idx="61">
                  <c:v>8.9999999999999993E-3</c:v>
                </c:pt>
                <c:pt idx="62">
                  <c:v>0.01</c:v>
                </c:pt>
                <c:pt idx="63">
                  <c:v>8.9999999999999993E-3</c:v>
                </c:pt>
                <c:pt idx="64">
                  <c:v>8.9999999999999993E-3</c:v>
                </c:pt>
                <c:pt idx="65">
                  <c:v>0.01</c:v>
                </c:pt>
                <c:pt idx="66">
                  <c:v>8.9999999999999993E-3</c:v>
                </c:pt>
                <c:pt idx="67">
                  <c:v>8.9999999999999993E-3</c:v>
                </c:pt>
                <c:pt idx="68">
                  <c:v>8.9999999999999993E-3</c:v>
                </c:pt>
                <c:pt idx="69">
                  <c:v>0.01</c:v>
                </c:pt>
                <c:pt idx="70">
                  <c:v>8.9999999999999993E-3</c:v>
                </c:pt>
                <c:pt idx="71">
                  <c:v>0.01</c:v>
                </c:pt>
                <c:pt idx="72">
                  <c:v>8.9999999999999993E-3</c:v>
                </c:pt>
                <c:pt idx="73">
                  <c:v>8.9999999999999993E-3</c:v>
                </c:pt>
                <c:pt idx="74">
                  <c:v>8.9999999999999993E-3</c:v>
                </c:pt>
                <c:pt idx="75">
                  <c:v>8.9999999999999993E-3</c:v>
                </c:pt>
                <c:pt idx="76">
                  <c:v>0.01</c:v>
                </c:pt>
                <c:pt idx="77">
                  <c:v>8.9999999999999993E-3</c:v>
                </c:pt>
                <c:pt idx="78">
                  <c:v>8.9999999999999993E-3</c:v>
                </c:pt>
                <c:pt idx="79">
                  <c:v>8.9999999999999993E-3</c:v>
                </c:pt>
                <c:pt idx="80">
                  <c:v>8.9999999999999993E-3</c:v>
                </c:pt>
                <c:pt idx="81">
                  <c:v>8.9999999999999993E-3</c:v>
                </c:pt>
                <c:pt idx="82">
                  <c:v>8.9999999999999993E-3</c:v>
                </c:pt>
                <c:pt idx="83">
                  <c:v>8.9999999999999993E-3</c:v>
                </c:pt>
                <c:pt idx="84">
                  <c:v>8.9999999999999993E-3</c:v>
                </c:pt>
                <c:pt idx="85">
                  <c:v>8.9999999999999993E-3</c:v>
                </c:pt>
                <c:pt idx="86">
                  <c:v>8.9999999999999993E-3</c:v>
                </c:pt>
                <c:pt idx="87">
                  <c:v>8.9999999999999993E-3</c:v>
                </c:pt>
                <c:pt idx="88">
                  <c:v>8.9999999999999993E-3</c:v>
                </c:pt>
                <c:pt idx="89">
                  <c:v>8.9999999999999993E-3</c:v>
                </c:pt>
                <c:pt idx="90">
                  <c:v>8.9999999999999993E-3</c:v>
                </c:pt>
                <c:pt idx="91">
                  <c:v>8.9999999999999993E-3</c:v>
                </c:pt>
                <c:pt idx="92">
                  <c:v>8.9999999999999993E-3</c:v>
                </c:pt>
                <c:pt idx="93">
                  <c:v>8.9999999999999993E-3</c:v>
                </c:pt>
                <c:pt idx="94">
                  <c:v>8.9999999999999993E-3</c:v>
                </c:pt>
                <c:pt idx="95">
                  <c:v>8.9999999999999993E-3</c:v>
                </c:pt>
                <c:pt idx="96">
                  <c:v>8.9999999999999993E-3</c:v>
                </c:pt>
                <c:pt idx="97">
                  <c:v>8.9999999999999993E-3</c:v>
                </c:pt>
                <c:pt idx="98">
                  <c:v>8.9999999999999993E-3</c:v>
                </c:pt>
                <c:pt idx="99">
                  <c:v>8.9999999999999993E-3</c:v>
                </c:pt>
                <c:pt idx="100">
                  <c:v>8.9999999999999993E-3</c:v>
                </c:pt>
                <c:pt idx="101">
                  <c:v>8.9999999999999993E-3</c:v>
                </c:pt>
                <c:pt idx="102">
                  <c:v>8.9999999999999993E-3</c:v>
                </c:pt>
                <c:pt idx="103">
                  <c:v>8.9999999999999993E-3</c:v>
                </c:pt>
                <c:pt idx="104">
                  <c:v>8.9999999999999993E-3</c:v>
                </c:pt>
                <c:pt idx="105">
                  <c:v>8.9999999999999993E-3</c:v>
                </c:pt>
                <c:pt idx="106">
                  <c:v>8.9999999999999993E-3</c:v>
                </c:pt>
                <c:pt idx="107">
                  <c:v>8.9999999999999993E-3</c:v>
                </c:pt>
                <c:pt idx="108">
                  <c:v>8.9999999999999993E-3</c:v>
                </c:pt>
                <c:pt idx="109">
                  <c:v>8.9999999999999993E-3</c:v>
                </c:pt>
                <c:pt idx="110">
                  <c:v>8.9999999999999993E-3</c:v>
                </c:pt>
                <c:pt idx="111">
                  <c:v>8.9999999999999993E-3</c:v>
                </c:pt>
                <c:pt idx="112">
                  <c:v>8.9999999999999993E-3</c:v>
                </c:pt>
                <c:pt idx="113">
                  <c:v>8.9999999999999993E-3</c:v>
                </c:pt>
                <c:pt idx="114">
                  <c:v>8.9999999999999993E-3</c:v>
                </c:pt>
                <c:pt idx="115">
                  <c:v>1E-3</c:v>
                </c:pt>
                <c:pt idx="116">
                  <c:v>8.9999999999999993E-3</c:v>
                </c:pt>
                <c:pt idx="117">
                  <c:v>8.9999999999999993E-3</c:v>
                </c:pt>
                <c:pt idx="118">
                  <c:v>8.9999999999999993E-3</c:v>
                </c:pt>
                <c:pt idx="119">
                  <c:v>8.9999999999999993E-3</c:v>
                </c:pt>
                <c:pt idx="120">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2</c:f>
              <c:strCache>
                <c:ptCount val="121"/>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pt idx="13">
                  <c:v>Schick</c:v>
                </c:pt>
                <c:pt idx="14">
                  <c:v>Gillette</c:v>
                </c:pt>
                <c:pt idx="15">
                  <c:v>Equate</c:v>
                </c:pt>
                <c:pt idx="16">
                  <c:v>Gillette</c:v>
                </c:pt>
                <c:pt idx="17">
                  <c:v>Gillette</c:v>
                </c:pt>
                <c:pt idx="18">
                  <c:v>Equate</c:v>
                </c:pt>
                <c:pt idx="19">
                  <c:v>Bic</c:v>
                </c:pt>
                <c:pt idx="20">
                  <c:v>Gillette</c:v>
                </c:pt>
                <c:pt idx="21">
                  <c:v>Bic</c:v>
                </c:pt>
                <c:pt idx="22">
                  <c:v>Equate</c:v>
                </c:pt>
                <c:pt idx="23">
                  <c:v>Bic</c:v>
                </c:pt>
                <c:pt idx="24">
                  <c:v>Bic</c:v>
                </c:pt>
                <c:pt idx="25">
                  <c:v>Equate</c:v>
                </c:pt>
                <c:pt idx="26">
                  <c:v>Gillette</c:v>
                </c:pt>
                <c:pt idx="27">
                  <c:v>Schick</c:v>
                </c:pt>
                <c:pt idx="28">
                  <c:v>Bic</c:v>
                </c:pt>
                <c:pt idx="29">
                  <c:v>Gillette</c:v>
                </c:pt>
                <c:pt idx="30">
                  <c:v>Gillette</c:v>
                </c:pt>
                <c:pt idx="31">
                  <c:v>Bic</c:v>
                </c:pt>
                <c:pt idx="32">
                  <c:v>Equate</c:v>
                </c:pt>
                <c:pt idx="33">
                  <c:v>Bic</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Gillette</c:v>
                </c:pt>
                <c:pt idx="48">
                  <c:v>Bic</c:v>
                </c:pt>
                <c:pt idx="49">
                  <c:v>Harry's</c:v>
                </c:pt>
                <c:pt idx="50">
                  <c:v>Harry's</c:v>
                </c:pt>
                <c:pt idx="51">
                  <c:v>Gillette</c:v>
                </c:pt>
                <c:pt idx="52">
                  <c:v>Bic</c:v>
                </c:pt>
                <c:pt idx="53">
                  <c:v>Equate</c:v>
                </c:pt>
                <c:pt idx="54">
                  <c:v>Gillette</c:v>
                </c:pt>
                <c:pt idx="55">
                  <c:v>Gillette</c:v>
                </c:pt>
                <c:pt idx="56">
                  <c:v>Schick</c:v>
                </c:pt>
                <c:pt idx="57">
                  <c:v>Gillette</c:v>
                </c:pt>
                <c:pt idx="58">
                  <c:v>Schick</c:v>
                </c:pt>
                <c:pt idx="59">
                  <c:v>Schick</c:v>
                </c:pt>
                <c:pt idx="60">
                  <c:v>Bic</c:v>
                </c:pt>
                <c:pt idx="61">
                  <c:v>Gillette</c:v>
                </c:pt>
                <c:pt idx="62">
                  <c:v>Harry's</c:v>
                </c:pt>
                <c:pt idx="63">
                  <c:v>Gillette</c:v>
                </c:pt>
                <c:pt idx="64">
                  <c:v>Schick</c:v>
                </c:pt>
                <c:pt idx="65">
                  <c:v>Schick</c:v>
                </c:pt>
                <c:pt idx="66">
                  <c:v>Gillette</c:v>
                </c:pt>
                <c:pt idx="67">
                  <c:v>Bic</c:v>
                </c:pt>
                <c:pt idx="68">
                  <c:v>Gillette</c:v>
                </c:pt>
                <c:pt idx="69">
                  <c:v>Equate</c:v>
                </c:pt>
                <c:pt idx="70">
                  <c:v>Gillette</c:v>
                </c:pt>
                <c:pt idx="71">
                  <c:v>Bic</c:v>
                </c:pt>
                <c:pt idx="72">
                  <c:v>Schick</c:v>
                </c:pt>
                <c:pt idx="73">
                  <c:v>Gillette</c:v>
                </c:pt>
                <c:pt idx="74">
                  <c:v>Schick</c:v>
                </c:pt>
                <c:pt idx="75">
                  <c:v>Schick</c:v>
                </c:pt>
                <c:pt idx="76">
                  <c:v>Bic</c:v>
                </c:pt>
                <c:pt idx="77">
                  <c:v>Schick</c:v>
                </c:pt>
                <c:pt idx="78">
                  <c:v>Bic</c:v>
                </c:pt>
                <c:pt idx="79">
                  <c:v>Bic</c:v>
                </c:pt>
                <c:pt idx="80">
                  <c:v>Equate</c:v>
                </c:pt>
                <c:pt idx="81">
                  <c:v>Bic</c:v>
                </c:pt>
                <c:pt idx="82">
                  <c:v>Equate</c:v>
                </c:pt>
                <c:pt idx="83">
                  <c:v>Bic</c:v>
                </c:pt>
                <c:pt idx="84">
                  <c:v>Schick</c:v>
                </c:pt>
                <c:pt idx="85">
                  <c:v>Schick</c:v>
                </c:pt>
                <c:pt idx="86">
                  <c:v>Bic</c:v>
                </c:pt>
                <c:pt idx="87">
                  <c:v>Gillette</c:v>
                </c:pt>
                <c:pt idx="88">
                  <c:v>Gillette</c:v>
                </c:pt>
                <c:pt idx="89">
                  <c:v>Bic</c:v>
                </c:pt>
                <c:pt idx="90">
                  <c:v>Schick</c:v>
                </c:pt>
                <c:pt idx="91">
                  <c:v>Gillette</c:v>
                </c:pt>
                <c:pt idx="92">
                  <c:v>Schick</c:v>
                </c:pt>
                <c:pt idx="93">
                  <c:v>Gillette</c:v>
                </c:pt>
                <c:pt idx="94">
                  <c:v>Schick</c:v>
                </c:pt>
                <c:pt idx="95">
                  <c:v>Barbasol</c:v>
                </c:pt>
                <c:pt idx="96">
                  <c:v>Equate</c:v>
                </c:pt>
                <c:pt idx="97">
                  <c:v>Gillette</c:v>
                </c:pt>
                <c:pt idx="98">
                  <c:v>Schick</c:v>
                </c:pt>
                <c:pt idx="99">
                  <c:v>Edgewell Pe</c:v>
                </c:pt>
                <c:pt idx="100">
                  <c:v>Gillette</c:v>
                </c:pt>
                <c:pt idx="101">
                  <c:v>Bic</c:v>
                </c:pt>
                <c:pt idx="102">
                  <c:v>Bic</c:v>
                </c:pt>
                <c:pt idx="103">
                  <c:v>Schick</c:v>
                </c:pt>
                <c:pt idx="104">
                  <c:v>Barbasol</c:v>
                </c:pt>
                <c:pt idx="105">
                  <c:v>Gillette</c:v>
                </c:pt>
                <c:pt idx="106">
                  <c:v>Gillette</c:v>
                </c:pt>
                <c:pt idx="107">
                  <c:v>Personna</c:v>
                </c:pt>
                <c:pt idx="108">
                  <c:v>Equate</c:v>
                </c:pt>
                <c:pt idx="109">
                  <c:v>Gillette</c:v>
                </c:pt>
                <c:pt idx="110">
                  <c:v>Schick</c:v>
                </c:pt>
                <c:pt idx="111">
                  <c:v>Schick</c:v>
                </c:pt>
                <c:pt idx="112">
                  <c:v>Schick</c:v>
                </c:pt>
                <c:pt idx="113">
                  <c:v>Bic</c:v>
                </c:pt>
                <c:pt idx="114">
                  <c:v>Bic</c:v>
                </c:pt>
                <c:pt idx="115">
                  <c:v>Schick</c:v>
                </c:pt>
                <c:pt idx="116">
                  <c:v>Gillette</c:v>
                </c:pt>
                <c:pt idx="117">
                  <c:v>Bic</c:v>
                </c:pt>
                <c:pt idx="118">
                  <c:v>Gillette</c:v>
                </c:pt>
                <c:pt idx="119">
                  <c:v>Schick</c:v>
                </c:pt>
                <c:pt idx="120">
                  <c:v>Gillette</c:v>
                </c:pt>
              </c:strCache>
            </c:strRef>
          </c:cat>
          <c:val>
            <c:numRef>
              <c:f>Sheet1!$C$2:$C$122</c:f>
              <c:numCache>
                <c:formatCode>General</c:formatCode>
                <c:ptCount val="121"/>
                <c:pt idx="0">
                  <c:v>6.7910148356552555E-2</c:v>
                </c:pt>
                <c:pt idx="1">
                  <c:v>0.12219436758468043</c:v>
                </c:pt>
                <c:pt idx="2">
                  <c:v>0.17629512021373683</c:v>
                </c:pt>
                <c:pt idx="3">
                  <c:v>0.22306920056492457</c:v>
                </c:pt>
                <c:pt idx="4">
                  <c:v>0.26617974697618846</c:v>
                </c:pt>
                <c:pt idx="5">
                  <c:v>0.30406581293863993</c:v>
                </c:pt>
                <c:pt idx="6">
                  <c:v>0.33997815881473592</c:v>
                </c:pt>
                <c:pt idx="7">
                  <c:v>0.37516253523654641</c:v>
                </c:pt>
                <c:pt idx="8">
                  <c:v>0.40864299830300349</c:v>
                </c:pt>
                <c:pt idx="9">
                  <c:v>0.44106545478286069</c:v>
                </c:pt>
                <c:pt idx="10">
                  <c:v>0.4715835142419123</c:v>
                </c:pt>
                <c:pt idx="11">
                  <c:v>0.49878162007985644</c:v>
                </c:pt>
                <c:pt idx="12">
                  <c:v>0.524081503996637</c:v>
                </c:pt>
                <c:pt idx="13">
                  <c:v>0.54912212644766989</c:v>
                </c:pt>
                <c:pt idx="14">
                  <c:v>0.5736634126631921</c:v>
                </c:pt>
                <c:pt idx="15">
                  <c:v>0.5974708757513949</c:v>
                </c:pt>
                <c:pt idx="16">
                  <c:v>0.62072508947187788</c:v>
                </c:pt>
                <c:pt idx="17">
                  <c:v>0.6437367744540714</c:v>
                </c:pt>
                <c:pt idx="18">
                  <c:v>0.66609256371754</c:v>
                </c:pt>
                <c:pt idx="19">
                  <c:v>0.68831155505290476</c:v>
                </c:pt>
                <c:pt idx="20">
                  <c:v>0.71049167231254562</c:v>
                </c:pt>
                <c:pt idx="21">
                  <c:v>0.73260982223093474</c:v>
                </c:pt>
                <c:pt idx="22">
                  <c:v>0.75465573770045935</c:v>
                </c:pt>
                <c:pt idx="23">
                  <c:v>0.77510158533413454</c:v>
                </c:pt>
                <c:pt idx="24">
                  <c:v>0.79546744719266793</c:v>
                </c:pt>
                <c:pt idx="25">
                  <c:v>0.81558296099254446</c:v>
                </c:pt>
                <c:pt idx="26">
                  <c:v>0.83558984496148259</c:v>
                </c:pt>
                <c:pt idx="27">
                  <c:v>0.85416969369144513</c:v>
                </c:pt>
                <c:pt idx="28">
                  <c:v>0.87049231170424413</c:v>
                </c:pt>
                <c:pt idx="29">
                  <c:v>0.88650667541870098</c:v>
                </c:pt>
                <c:pt idx="30">
                  <c:v>0.90080811965149976</c:v>
                </c:pt>
                <c:pt idx="31">
                  <c:v>0.91266382264283052</c:v>
                </c:pt>
                <c:pt idx="32">
                  <c:v>0.92349909505429151</c:v>
                </c:pt>
                <c:pt idx="33">
                  <c:v>0.93357919419412549</c:v>
                </c:pt>
                <c:pt idx="34">
                  <c:v>0.94240160664842743</c:v>
                </c:pt>
                <c:pt idx="35">
                  <c:v>0.94941274307902668</c:v>
                </c:pt>
                <c:pt idx="36">
                  <c:v>0.95548857753062588</c:v>
                </c:pt>
                <c:pt idx="37">
                  <c:v>0.9606295488741704</c:v>
                </c:pt>
                <c:pt idx="38">
                  <c:v>0.96503594297412287</c:v>
                </c:pt>
                <c:pt idx="39">
                  <c:v>0.96934843723557618</c:v>
                </c:pt>
                <c:pt idx="40">
                  <c:v>0.97303353766463985</c:v>
                </c:pt>
                <c:pt idx="41">
                  <c:v>0.9765829527961658</c:v>
                </c:pt>
                <c:pt idx="42">
                  <c:v>0.97991142422238497</c:v>
                </c:pt>
                <c:pt idx="43">
                  <c:v>0.98319421598258416</c:v>
                </c:pt>
                <c:pt idx="44">
                  <c:v>0.98616388877635486</c:v>
                </c:pt>
                <c:pt idx="45">
                  <c:v>0.98900959598121763</c:v>
                </c:pt>
                <c:pt idx="46">
                  <c:v>0.99177897054796393</c:v>
                </c:pt>
                <c:pt idx="47">
                  <c:v>0.99413719103284515</c:v>
                </c:pt>
                <c:pt idx="48">
                  <c:v>0.99645748317798366</c:v>
                </c:pt>
                <c:pt idx="49">
                  <c:v>0.99820370740125408</c:v>
                </c:pt>
                <c:pt idx="50">
                  <c:v>0.99972803600195559</c:v>
                </c:pt>
                <c:pt idx="51">
                  <c:v>0.99991377731240672</c:v>
                </c:pt>
                <c:pt idx="52">
                  <c:v>0.99994259444406908</c:v>
                </c:pt>
                <c:pt idx="53">
                  <c:v>0.99996311629673296</c:v>
                </c:pt>
                <c:pt idx="54">
                  <c:v>0.99996814785940413</c:v>
                </c:pt>
                <c:pt idx="55">
                  <c:v>0.99997308052158063</c:v>
                </c:pt>
                <c:pt idx="56">
                  <c:v>0.9999772034359562</c:v>
                </c:pt>
                <c:pt idx="57">
                  <c:v>0.9999801642695183</c:v>
                </c:pt>
                <c:pt idx="58">
                  <c:v>0.99998259351292096</c:v>
                </c:pt>
                <c:pt idx="59">
                  <c:v>0.99998447262232149</c:v>
                </c:pt>
                <c:pt idx="60">
                  <c:v>0.99998561615929227</c:v>
                </c:pt>
                <c:pt idx="61">
                  <c:v>0.99998674115242026</c:v>
                </c:pt>
                <c:pt idx="62">
                  <c:v>0.99998777960761531</c:v>
                </c:pt>
                <c:pt idx="63">
                  <c:v>0.99998875625000117</c:v>
                </c:pt>
                <c:pt idx="64">
                  <c:v>0.99998972671110609</c:v>
                </c:pt>
                <c:pt idx="65">
                  <c:v>0.99999069099093008</c:v>
                </c:pt>
                <c:pt idx="66">
                  <c:v>0.99999153164513555</c:v>
                </c:pt>
                <c:pt idx="67">
                  <c:v>0.99999227339884633</c:v>
                </c:pt>
                <c:pt idx="68">
                  <c:v>0.99999292243334326</c:v>
                </c:pt>
                <c:pt idx="69">
                  <c:v>0.99999344166094073</c:v>
                </c:pt>
                <c:pt idx="70">
                  <c:v>0.999993899075729</c:v>
                </c:pt>
                <c:pt idx="71">
                  <c:v>0.99999432558411272</c:v>
                </c:pt>
                <c:pt idx="72">
                  <c:v>0.99999472736737272</c:v>
                </c:pt>
                <c:pt idx="73">
                  <c:v>0.99999512915063271</c:v>
                </c:pt>
                <c:pt idx="74">
                  <c:v>0.99999552475261178</c:v>
                </c:pt>
                <c:pt idx="75">
                  <c:v>0.99999592035459084</c:v>
                </c:pt>
                <c:pt idx="76">
                  <c:v>0.99999619851223231</c:v>
                </c:pt>
                <c:pt idx="77">
                  <c:v>0.99999645812603111</c:v>
                </c:pt>
                <c:pt idx="78">
                  <c:v>0.9999967177398299</c:v>
                </c:pt>
                <c:pt idx="79">
                  <c:v>0.99999691554081938</c:v>
                </c:pt>
                <c:pt idx="80">
                  <c:v>0.99999708861668524</c:v>
                </c:pt>
                <c:pt idx="81">
                  <c:v>0.9999972616925511</c:v>
                </c:pt>
                <c:pt idx="82">
                  <c:v>0.99999742858713603</c:v>
                </c:pt>
                <c:pt idx="83">
                  <c:v>0.99999758930044003</c:v>
                </c:pt>
                <c:pt idx="84">
                  <c:v>0.99999774383246309</c:v>
                </c:pt>
                <c:pt idx="85">
                  <c:v>0.99999789836448616</c:v>
                </c:pt>
                <c:pt idx="86">
                  <c:v>0.9999980281713855</c:v>
                </c:pt>
                <c:pt idx="87">
                  <c:v>0.99999815179700391</c:v>
                </c:pt>
                <c:pt idx="88">
                  <c:v>0.99999827542262232</c:v>
                </c:pt>
                <c:pt idx="89">
                  <c:v>0.99999838668567897</c:v>
                </c:pt>
                <c:pt idx="90">
                  <c:v>0.9999984917674547</c:v>
                </c:pt>
                <c:pt idx="91">
                  <c:v>0.99999859066794949</c:v>
                </c:pt>
                <c:pt idx="92">
                  <c:v>0.99999868338716336</c:v>
                </c:pt>
                <c:pt idx="93">
                  <c:v>0.99999876992509629</c:v>
                </c:pt>
                <c:pt idx="94">
                  <c:v>0.99999885646302922</c:v>
                </c:pt>
                <c:pt idx="95">
                  <c:v>0.99999893681968122</c:v>
                </c:pt>
                <c:pt idx="96">
                  <c:v>0.99999901717633322</c:v>
                </c:pt>
                <c:pt idx="97">
                  <c:v>0.99999908517042335</c:v>
                </c:pt>
                <c:pt idx="98">
                  <c:v>0.99999915316451349</c:v>
                </c:pt>
                <c:pt idx="99">
                  <c:v>0.99999922115860362</c:v>
                </c:pt>
                <c:pt idx="100">
                  <c:v>0.99999928915269376</c:v>
                </c:pt>
                <c:pt idx="101">
                  <c:v>0.99999935096550296</c:v>
                </c:pt>
                <c:pt idx="102">
                  <c:v>0.99999941277831217</c:v>
                </c:pt>
                <c:pt idx="103">
                  <c:v>0.99999946840984044</c:v>
                </c:pt>
                <c:pt idx="104">
                  <c:v>0.99999952404136871</c:v>
                </c:pt>
                <c:pt idx="105">
                  <c:v>0.99999957349161606</c:v>
                </c:pt>
                <c:pt idx="106">
                  <c:v>0.99999961676058247</c:v>
                </c:pt>
                <c:pt idx="107">
                  <c:v>0.99999966002954888</c:v>
                </c:pt>
                <c:pt idx="108">
                  <c:v>0.99999970329851529</c:v>
                </c:pt>
                <c:pt idx="109">
                  <c:v>0.9999997465674817</c:v>
                </c:pt>
                <c:pt idx="110">
                  <c:v>0.99999978983644811</c:v>
                </c:pt>
                <c:pt idx="111">
                  <c:v>0.99999983310541452</c:v>
                </c:pt>
                <c:pt idx="112">
                  <c:v>0.99999986401181917</c:v>
                </c:pt>
                <c:pt idx="113">
                  <c:v>0.99999989491822383</c:v>
                </c:pt>
                <c:pt idx="114">
                  <c:v>0.99999991964334756</c:v>
                </c:pt>
                <c:pt idx="115">
                  <c:v>0.99999993818719035</c:v>
                </c:pt>
                <c:pt idx="116">
                  <c:v>0.99999995673103315</c:v>
                </c:pt>
                <c:pt idx="117">
                  <c:v>0.99999996909359501</c:v>
                </c:pt>
                <c:pt idx="118">
                  <c:v>0.99999998145615687</c:v>
                </c:pt>
                <c:pt idx="119">
                  <c:v>0.99999999381871874</c:v>
                </c:pt>
                <c:pt idx="120">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Gillette</c:v>
                </c:pt>
                <c:pt idx="1">
                  <c:v>Schick</c:v>
                </c:pt>
                <c:pt idx="2">
                  <c:v>Gillette</c:v>
                </c:pt>
                <c:pt idx="3">
                  <c:v>Schick</c:v>
                </c:pt>
                <c:pt idx="4">
                  <c:v>Bic</c:v>
                </c:pt>
                <c:pt idx="5">
                  <c:v>Bic</c:v>
                </c:pt>
                <c:pt idx="6">
                  <c:v>Schick</c:v>
                </c:pt>
                <c:pt idx="7">
                  <c:v>Bic</c:v>
                </c:pt>
                <c:pt idx="8">
                  <c:v>Bic</c:v>
                </c:pt>
              </c:strCache>
            </c:strRef>
          </c:cat>
          <c:val>
            <c:numRef>
              <c:f>Sheet1!$B$2:$B$10</c:f>
              <c:numCache>
                <c:formatCode>General</c:formatCode>
                <c:ptCount val="9"/>
                <c:pt idx="0">
                  <c:v>1</c:v>
                </c:pt>
                <c:pt idx="1">
                  <c:v>0.97</c:v>
                </c:pt>
                <c:pt idx="2">
                  <c:v>0.1</c:v>
                </c:pt>
                <c:pt idx="3">
                  <c:v>0.71</c:v>
                </c:pt>
                <c:pt idx="4">
                  <c:v>0.06</c:v>
                </c:pt>
                <c:pt idx="5">
                  <c:v>0.04</c:v>
                </c:pt>
                <c:pt idx="6">
                  <c:v>0.01</c:v>
                </c:pt>
                <c:pt idx="7">
                  <c:v>0.01</c:v>
                </c:pt>
                <c:pt idx="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Gillette</c:v>
                </c:pt>
                <c:pt idx="1">
                  <c:v>Schick</c:v>
                </c:pt>
                <c:pt idx="2">
                  <c:v>Gillette</c:v>
                </c:pt>
                <c:pt idx="3">
                  <c:v>Schick</c:v>
                </c:pt>
                <c:pt idx="4">
                  <c:v>Bic</c:v>
                </c:pt>
                <c:pt idx="5">
                  <c:v>Bic</c:v>
                </c:pt>
                <c:pt idx="6">
                  <c:v>Schick</c:v>
                </c:pt>
                <c:pt idx="7">
                  <c:v>Bic</c:v>
                </c:pt>
                <c:pt idx="8">
                  <c:v>Bic</c:v>
                </c:pt>
              </c:strCache>
            </c:strRef>
          </c:cat>
          <c:val>
            <c:numRef>
              <c:f>Sheet1!$C$2:$C$10</c:f>
              <c:numCache>
                <c:formatCode>General</c:formatCode>
                <c:ptCount val="9"/>
                <c:pt idx="0">
                  <c:v>0.54988077895786913</c:v>
                </c:pt>
                <c:pt idx="1">
                  <c:v>0.92941923194066789</c:v>
                </c:pt>
                <c:pt idx="2">
                  <c:v>0.96014406729614188</c:v>
                </c:pt>
                <c:pt idx="3">
                  <c:v>0.9807419148953388</c:v>
                </c:pt>
                <c:pt idx="4">
                  <c:v>0.99645565113249235</c:v>
                </c:pt>
                <c:pt idx="5">
                  <c:v>0.99979455482919688</c:v>
                </c:pt>
                <c:pt idx="6">
                  <c:v>0.99999552350769672</c:v>
                </c:pt>
                <c:pt idx="7">
                  <c:v>0.99999875174733854</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Gillette</c:v>
                </c:pt>
                <c:pt idx="1">
                  <c:v>Schick</c:v>
                </c:pt>
                <c:pt idx="2">
                  <c:v>Gillette</c:v>
                </c:pt>
                <c:pt idx="3">
                  <c:v>Bic</c:v>
                </c:pt>
                <c:pt idx="4">
                  <c:v>Schick</c:v>
                </c:pt>
                <c:pt idx="5">
                  <c:v>Pbg Pl</c:v>
                </c:pt>
                <c:pt idx="6">
                  <c:v>Schick</c:v>
                </c:pt>
              </c:strCache>
            </c:strRef>
          </c:cat>
          <c:val>
            <c:numRef>
              <c:f>Sheet1!$B$2:$B$8</c:f>
              <c:numCache>
                <c:formatCode>General</c:formatCode>
                <c:ptCount val="7"/>
                <c:pt idx="0">
                  <c:v>1</c:v>
                </c:pt>
                <c:pt idx="1">
                  <c:v>0.99</c:v>
                </c:pt>
                <c:pt idx="2">
                  <c:v>0.99</c:v>
                </c:pt>
                <c:pt idx="3">
                  <c:v>0.8</c:v>
                </c:pt>
                <c:pt idx="4">
                  <c:v>0.86</c:v>
                </c:pt>
                <c:pt idx="5">
                  <c:v>0.57999999999999996</c:v>
                </c:pt>
                <c:pt idx="6">
                  <c:v>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Gillette</c:v>
                </c:pt>
                <c:pt idx="1">
                  <c:v>Schick</c:v>
                </c:pt>
                <c:pt idx="2">
                  <c:v>Gillette</c:v>
                </c:pt>
                <c:pt idx="3">
                  <c:v>Bic</c:v>
                </c:pt>
                <c:pt idx="4">
                  <c:v>Schick</c:v>
                </c:pt>
                <c:pt idx="5">
                  <c:v>Pbg Pl</c:v>
                </c:pt>
                <c:pt idx="6">
                  <c:v>Schick</c:v>
                </c:pt>
              </c:strCache>
            </c:strRef>
          </c:cat>
          <c:val>
            <c:numRef>
              <c:f>Sheet1!$C$2:$C$8</c:f>
              <c:numCache>
                <c:formatCode>General</c:formatCode>
                <c:ptCount val="7"/>
                <c:pt idx="0">
                  <c:v>0.45040300931672739</c:v>
                </c:pt>
                <c:pt idx="1">
                  <c:v>0.71928998419775114</c:v>
                </c:pt>
                <c:pt idx="2">
                  <c:v>0.91574454650785286</c:v>
                </c:pt>
                <c:pt idx="3">
                  <c:v>0.96033954649939213</c:v>
                </c:pt>
                <c:pt idx="4">
                  <c:v>0.98938732866090862</c:v>
                </c:pt>
                <c:pt idx="5">
                  <c:v>0.99732084560040202</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082386189050302</c:v>
                </c:pt>
                <c:pt idx="1">
                  <c:v>0.18453803758152043</c:v>
                </c:pt>
                <c:pt idx="2">
                  <c:v>0.15328221133792058</c:v>
                </c:pt>
                <c:pt idx="3">
                  <c:v>0.11808405065965208</c:v>
                </c:pt>
                <c:pt idx="4">
                  <c:v>3.271838530403922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39540797791179255</c:v>
                </c:pt>
                <c:pt idx="1">
                  <c:v>0.27019302962048003</c:v>
                </c:pt>
                <c:pt idx="2">
                  <c:v>0.14088498147206274</c:v>
                </c:pt>
                <c:pt idx="3">
                  <c:v>0.16382087238731868</c:v>
                </c:pt>
                <c:pt idx="4">
                  <c:v>2.969313860834605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73.112154580163136</c:v>
                </c:pt>
                <c:pt idx="1">
                  <c:v>146.41590057070005</c:v>
                </c:pt>
                <c:pt idx="2">
                  <c:v>91.912153564559844</c:v>
                </c:pt>
                <c:pt idx="3">
                  <c:v>138.73242954672313</c:v>
                </c:pt>
                <c:pt idx="4">
                  <c:v>907.5367971988614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0</c:f>
              <c:strCache>
                <c:ptCount val="69"/>
                <c:pt idx="0">
                  <c:v>Gillette</c:v>
                </c:pt>
                <c:pt idx="1">
                  <c:v>Gillette</c:v>
                </c:pt>
                <c:pt idx="2">
                  <c:v>Gillette</c:v>
                </c:pt>
                <c:pt idx="3">
                  <c:v>Equate</c:v>
                </c:pt>
                <c:pt idx="4">
                  <c:v>Gillette</c:v>
                </c:pt>
                <c:pt idx="5">
                  <c:v>Gillette</c:v>
                </c:pt>
                <c:pt idx="6">
                  <c:v>Gillette</c:v>
                </c:pt>
                <c:pt idx="7">
                  <c:v>Bic</c:v>
                </c:pt>
                <c:pt idx="8">
                  <c:v>Schick</c:v>
                </c:pt>
                <c:pt idx="9">
                  <c:v>Schick</c:v>
                </c:pt>
                <c:pt idx="10">
                  <c:v>Gillette</c:v>
                </c:pt>
                <c:pt idx="11">
                  <c:v>Gillette</c:v>
                </c:pt>
                <c:pt idx="12">
                  <c:v>Bic</c:v>
                </c:pt>
                <c:pt idx="13">
                  <c:v>Equate</c:v>
                </c:pt>
                <c:pt idx="14">
                  <c:v>Schick</c:v>
                </c:pt>
                <c:pt idx="15">
                  <c:v>Gillette</c:v>
                </c:pt>
                <c:pt idx="16">
                  <c:v>Bic</c:v>
                </c:pt>
                <c:pt idx="17">
                  <c:v>Gillette</c:v>
                </c:pt>
                <c:pt idx="18">
                  <c:v>Gillette</c:v>
                </c:pt>
                <c:pt idx="19">
                  <c:v>Bic</c:v>
                </c:pt>
                <c:pt idx="20">
                  <c:v>Equate</c:v>
                </c:pt>
                <c:pt idx="21">
                  <c:v>Gillette</c:v>
                </c:pt>
                <c:pt idx="22">
                  <c:v>Equate</c:v>
                </c:pt>
                <c:pt idx="23">
                  <c:v>Equate</c:v>
                </c:pt>
                <c:pt idx="24">
                  <c:v>Bic</c:v>
                </c:pt>
                <c:pt idx="25">
                  <c:v>Equate</c:v>
                </c:pt>
                <c:pt idx="26">
                  <c:v>Gillette</c:v>
                </c:pt>
                <c:pt idx="27">
                  <c:v>Bic</c:v>
                </c:pt>
                <c:pt idx="28">
                  <c:v>Schick</c:v>
                </c:pt>
                <c:pt idx="29">
                  <c:v>Gillette</c:v>
                </c:pt>
                <c:pt idx="30">
                  <c:v>Bic</c:v>
                </c:pt>
                <c:pt idx="31">
                  <c:v>Gillette</c:v>
                </c:pt>
                <c:pt idx="32">
                  <c:v>Gillette</c:v>
                </c:pt>
                <c:pt idx="33">
                  <c:v>Gillette</c:v>
                </c:pt>
                <c:pt idx="34">
                  <c:v>Schick</c:v>
                </c:pt>
                <c:pt idx="35">
                  <c:v>Bic</c:v>
                </c:pt>
                <c:pt idx="36">
                  <c:v>Schick</c:v>
                </c:pt>
                <c:pt idx="37">
                  <c:v>Bic</c:v>
                </c:pt>
                <c:pt idx="38">
                  <c:v>Gillette</c:v>
                </c:pt>
                <c:pt idx="39">
                  <c:v>Bic</c:v>
                </c:pt>
                <c:pt idx="40">
                  <c:v>Bic</c:v>
                </c:pt>
                <c:pt idx="41">
                  <c:v>Bic</c:v>
                </c:pt>
                <c:pt idx="42">
                  <c:v>Gillette</c:v>
                </c:pt>
                <c:pt idx="43">
                  <c:v>Schick</c:v>
                </c:pt>
                <c:pt idx="44">
                  <c:v>Harry's</c:v>
                </c:pt>
                <c:pt idx="45">
                  <c:v>Harry's</c:v>
                </c:pt>
                <c:pt idx="46">
                  <c:v>Gillette</c:v>
                </c:pt>
                <c:pt idx="47">
                  <c:v>Bic</c:v>
                </c:pt>
                <c:pt idx="48">
                  <c:v>Gillette</c:v>
                </c:pt>
                <c:pt idx="49">
                  <c:v>Gillette</c:v>
                </c:pt>
                <c:pt idx="50">
                  <c:v>Equate</c:v>
                </c:pt>
                <c:pt idx="51">
                  <c:v>Bic</c:v>
                </c:pt>
                <c:pt idx="52">
                  <c:v>Gillette</c:v>
                </c:pt>
                <c:pt idx="53">
                  <c:v>Gillette</c:v>
                </c:pt>
                <c:pt idx="54">
                  <c:v>Schick</c:v>
                </c:pt>
                <c:pt idx="55">
                  <c:v>Schick</c:v>
                </c:pt>
                <c:pt idx="56">
                  <c:v>Gillette</c:v>
                </c:pt>
                <c:pt idx="57">
                  <c:v>Schick</c:v>
                </c:pt>
                <c:pt idx="58">
                  <c:v>Equate</c:v>
                </c:pt>
                <c:pt idx="59">
                  <c:v>Gillette</c:v>
                </c:pt>
                <c:pt idx="60">
                  <c:v>Bic</c:v>
                </c:pt>
                <c:pt idx="61">
                  <c:v>Schick</c:v>
                </c:pt>
                <c:pt idx="62">
                  <c:v>Schick</c:v>
                </c:pt>
                <c:pt idx="63">
                  <c:v>Schick</c:v>
                </c:pt>
                <c:pt idx="64">
                  <c:v>Bic</c:v>
                </c:pt>
                <c:pt idx="65">
                  <c:v>Equate</c:v>
                </c:pt>
                <c:pt idx="66">
                  <c:v>Harry's</c:v>
                </c:pt>
                <c:pt idx="67">
                  <c:v>Gillette</c:v>
                </c:pt>
                <c:pt idx="68">
                  <c:v>Bic</c:v>
                </c:pt>
              </c:strCache>
            </c:strRef>
          </c:cat>
          <c:val>
            <c:numRef>
              <c:f>Sheet1!$B$2:$B$70</c:f>
              <c:numCache>
                <c:formatCode>General</c:formatCode>
                <c:ptCount val="69"/>
                <c:pt idx="0">
                  <c:v>0.73</c:v>
                </c:pt>
                <c:pt idx="1">
                  <c:v>0.9</c:v>
                </c:pt>
                <c:pt idx="2">
                  <c:v>0.8</c:v>
                </c:pt>
                <c:pt idx="3">
                  <c:v>0.91</c:v>
                </c:pt>
                <c:pt idx="4">
                  <c:v>0.87</c:v>
                </c:pt>
                <c:pt idx="5">
                  <c:v>0.56000000000000005</c:v>
                </c:pt>
                <c:pt idx="6">
                  <c:v>0.81</c:v>
                </c:pt>
                <c:pt idx="7">
                  <c:v>0.94</c:v>
                </c:pt>
                <c:pt idx="8">
                  <c:v>0.77</c:v>
                </c:pt>
                <c:pt idx="9">
                  <c:v>0.65</c:v>
                </c:pt>
                <c:pt idx="10">
                  <c:v>0.45</c:v>
                </c:pt>
                <c:pt idx="11">
                  <c:v>0.73</c:v>
                </c:pt>
                <c:pt idx="12">
                  <c:v>0.85</c:v>
                </c:pt>
                <c:pt idx="13">
                  <c:v>0.95</c:v>
                </c:pt>
                <c:pt idx="14">
                  <c:v>0.81</c:v>
                </c:pt>
                <c:pt idx="15">
                  <c:v>0.51</c:v>
                </c:pt>
                <c:pt idx="16">
                  <c:v>0.7</c:v>
                </c:pt>
                <c:pt idx="17">
                  <c:v>0.31</c:v>
                </c:pt>
                <c:pt idx="18">
                  <c:v>0.56999999999999995</c:v>
                </c:pt>
                <c:pt idx="19">
                  <c:v>0.62</c:v>
                </c:pt>
                <c:pt idx="20">
                  <c:v>0.82</c:v>
                </c:pt>
                <c:pt idx="21">
                  <c:v>0.45</c:v>
                </c:pt>
                <c:pt idx="22">
                  <c:v>0.65</c:v>
                </c:pt>
                <c:pt idx="23">
                  <c:v>0.74</c:v>
                </c:pt>
                <c:pt idx="24">
                  <c:v>0.39</c:v>
                </c:pt>
                <c:pt idx="25">
                  <c:v>0.95</c:v>
                </c:pt>
                <c:pt idx="26">
                  <c:v>0.23</c:v>
                </c:pt>
                <c:pt idx="27">
                  <c:v>0.57999999999999996</c:v>
                </c:pt>
                <c:pt idx="28">
                  <c:v>0.3</c:v>
                </c:pt>
                <c:pt idx="29">
                  <c:v>0.32</c:v>
                </c:pt>
                <c:pt idx="30">
                  <c:v>0.48</c:v>
                </c:pt>
                <c:pt idx="31">
                  <c:v>0.44</c:v>
                </c:pt>
                <c:pt idx="32">
                  <c:v>0.41</c:v>
                </c:pt>
                <c:pt idx="33">
                  <c:v>0.4</c:v>
                </c:pt>
                <c:pt idx="34">
                  <c:v>0.71</c:v>
                </c:pt>
                <c:pt idx="35">
                  <c:v>0.38</c:v>
                </c:pt>
                <c:pt idx="36">
                  <c:v>0.61</c:v>
                </c:pt>
                <c:pt idx="37">
                  <c:v>0.53</c:v>
                </c:pt>
                <c:pt idx="38">
                  <c:v>0.24</c:v>
                </c:pt>
                <c:pt idx="39">
                  <c:v>0.11</c:v>
                </c:pt>
                <c:pt idx="40">
                  <c:v>0.37</c:v>
                </c:pt>
                <c:pt idx="41">
                  <c:v>0.11</c:v>
                </c:pt>
                <c:pt idx="42">
                  <c:v>0.33</c:v>
                </c:pt>
                <c:pt idx="43">
                  <c:v>0.24</c:v>
                </c:pt>
                <c:pt idx="44">
                  <c:v>0.34</c:v>
                </c:pt>
                <c:pt idx="45">
                  <c:v>0.22</c:v>
                </c:pt>
                <c:pt idx="46">
                  <c:v>0.01</c:v>
                </c:pt>
                <c:pt idx="47">
                  <c:v>0.05</c:v>
                </c:pt>
                <c:pt idx="48">
                  <c:v>0.05</c:v>
                </c:pt>
                <c:pt idx="49">
                  <c:v>0.16</c:v>
                </c:pt>
                <c:pt idx="50">
                  <c:v>0.06</c:v>
                </c:pt>
                <c:pt idx="51">
                  <c:v>0.01</c:v>
                </c:pt>
                <c:pt idx="52">
                  <c:v>0.01</c:v>
                </c:pt>
                <c:pt idx="53">
                  <c:v>0.01</c:v>
                </c:pt>
                <c:pt idx="54">
                  <c:v>0.01</c:v>
                </c:pt>
                <c:pt idx="55">
                  <c:v>0.01</c:v>
                </c:pt>
                <c:pt idx="56">
                  <c:v>0.01</c:v>
                </c:pt>
                <c:pt idx="57">
                  <c:v>0.01</c:v>
                </c:pt>
                <c:pt idx="58">
                  <c:v>0.01</c:v>
                </c:pt>
                <c:pt idx="59">
                  <c:v>0.01</c:v>
                </c:pt>
                <c:pt idx="60">
                  <c:v>0.01</c:v>
                </c:pt>
                <c:pt idx="61">
                  <c:v>0.01</c:v>
                </c:pt>
                <c:pt idx="62">
                  <c:v>0.01</c:v>
                </c:pt>
                <c:pt idx="63">
                  <c:v>0.01</c:v>
                </c:pt>
                <c:pt idx="64">
                  <c:v>0.01</c:v>
                </c:pt>
                <c:pt idx="65">
                  <c:v>0.01</c:v>
                </c:pt>
                <c:pt idx="66">
                  <c:v>0.01</c:v>
                </c:pt>
                <c:pt idx="67">
                  <c:v>0.01</c:v>
                </c:pt>
                <c:pt idx="6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0</c:f>
              <c:strCache>
                <c:ptCount val="69"/>
                <c:pt idx="0">
                  <c:v>Gillette</c:v>
                </c:pt>
                <c:pt idx="1">
                  <c:v>Gillette</c:v>
                </c:pt>
                <c:pt idx="2">
                  <c:v>Gillette</c:v>
                </c:pt>
                <c:pt idx="3">
                  <c:v>Equate</c:v>
                </c:pt>
                <c:pt idx="4">
                  <c:v>Gillette</c:v>
                </c:pt>
                <c:pt idx="5">
                  <c:v>Gillette</c:v>
                </c:pt>
                <c:pt idx="6">
                  <c:v>Gillette</c:v>
                </c:pt>
                <c:pt idx="7">
                  <c:v>Bic</c:v>
                </c:pt>
                <c:pt idx="8">
                  <c:v>Schick</c:v>
                </c:pt>
                <c:pt idx="9">
                  <c:v>Schick</c:v>
                </c:pt>
                <c:pt idx="10">
                  <c:v>Gillette</c:v>
                </c:pt>
                <c:pt idx="11">
                  <c:v>Gillette</c:v>
                </c:pt>
                <c:pt idx="12">
                  <c:v>Bic</c:v>
                </c:pt>
                <c:pt idx="13">
                  <c:v>Equate</c:v>
                </c:pt>
                <c:pt idx="14">
                  <c:v>Schick</c:v>
                </c:pt>
                <c:pt idx="15">
                  <c:v>Gillette</c:v>
                </c:pt>
                <c:pt idx="16">
                  <c:v>Bic</c:v>
                </c:pt>
                <c:pt idx="17">
                  <c:v>Gillette</c:v>
                </c:pt>
                <c:pt idx="18">
                  <c:v>Gillette</c:v>
                </c:pt>
                <c:pt idx="19">
                  <c:v>Bic</c:v>
                </c:pt>
                <c:pt idx="20">
                  <c:v>Equate</c:v>
                </c:pt>
                <c:pt idx="21">
                  <c:v>Gillette</c:v>
                </c:pt>
                <c:pt idx="22">
                  <c:v>Equate</c:v>
                </c:pt>
                <c:pt idx="23">
                  <c:v>Equate</c:v>
                </c:pt>
                <c:pt idx="24">
                  <c:v>Bic</c:v>
                </c:pt>
                <c:pt idx="25">
                  <c:v>Equate</c:v>
                </c:pt>
                <c:pt idx="26">
                  <c:v>Gillette</c:v>
                </c:pt>
                <c:pt idx="27">
                  <c:v>Bic</c:v>
                </c:pt>
                <c:pt idx="28">
                  <c:v>Schick</c:v>
                </c:pt>
                <c:pt idx="29">
                  <c:v>Gillette</c:v>
                </c:pt>
                <c:pt idx="30">
                  <c:v>Bic</c:v>
                </c:pt>
                <c:pt idx="31">
                  <c:v>Gillette</c:v>
                </c:pt>
                <c:pt idx="32">
                  <c:v>Gillette</c:v>
                </c:pt>
                <c:pt idx="33">
                  <c:v>Gillette</c:v>
                </c:pt>
                <c:pt idx="34">
                  <c:v>Schick</c:v>
                </c:pt>
                <c:pt idx="35">
                  <c:v>Bic</c:v>
                </c:pt>
                <c:pt idx="36">
                  <c:v>Schick</c:v>
                </c:pt>
                <c:pt idx="37">
                  <c:v>Bic</c:v>
                </c:pt>
                <c:pt idx="38">
                  <c:v>Gillette</c:v>
                </c:pt>
                <c:pt idx="39">
                  <c:v>Bic</c:v>
                </c:pt>
                <c:pt idx="40">
                  <c:v>Bic</c:v>
                </c:pt>
                <c:pt idx="41">
                  <c:v>Bic</c:v>
                </c:pt>
                <c:pt idx="42">
                  <c:v>Gillette</c:v>
                </c:pt>
                <c:pt idx="43">
                  <c:v>Schick</c:v>
                </c:pt>
                <c:pt idx="44">
                  <c:v>Harry's</c:v>
                </c:pt>
                <c:pt idx="45">
                  <c:v>Harry's</c:v>
                </c:pt>
                <c:pt idx="46">
                  <c:v>Gillette</c:v>
                </c:pt>
                <c:pt idx="47">
                  <c:v>Bic</c:v>
                </c:pt>
                <c:pt idx="48">
                  <c:v>Gillette</c:v>
                </c:pt>
                <c:pt idx="49">
                  <c:v>Gillette</c:v>
                </c:pt>
                <c:pt idx="50">
                  <c:v>Equate</c:v>
                </c:pt>
                <c:pt idx="51">
                  <c:v>Bic</c:v>
                </c:pt>
                <c:pt idx="52">
                  <c:v>Gillette</c:v>
                </c:pt>
                <c:pt idx="53">
                  <c:v>Gillette</c:v>
                </c:pt>
                <c:pt idx="54">
                  <c:v>Schick</c:v>
                </c:pt>
                <c:pt idx="55">
                  <c:v>Schick</c:v>
                </c:pt>
                <c:pt idx="56">
                  <c:v>Gillette</c:v>
                </c:pt>
                <c:pt idx="57">
                  <c:v>Schick</c:v>
                </c:pt>
                <c:pt idx="58">
                  <c:v>Equate</c:v>
                </c:pt>
                <c:pt idx="59">
                  <c:v>Gillette</c:v>
                </c:pt>
                <c:pt idx="60">
                  <c:v>Bic</c:v>
                </c:pt>
                <c:pt idx="61">
                  <c:v>Schick</c:v>
                </c:pt>
                <c:pt idx="62">
                  <c:v>Schick</c:v>
                </c:pt>
                <c:pt idx="63">
                  <c:v>Schick</c:v>
                </c:pt>
                <c:pt idx="64">
                  <c:v>Bic</c:v>
                </c:pt>
                <c:pt idx="65">
                  <c:v>Equate</c:v>
                </c:pt>
                <c:pt idx="66">
                  <c:v>Harry's</c:v>
                </c:pt>
                <c:pt idx="67">
                  <c:v>Gillette</c:v>
                </c:pt>
                <c:pt idx="68">
                  <c:v>Bic</c:v>
                </c:pt>
              </c:strCache>
            </c:strRef>
          </c:cat>
          <c:val>
            <c:numRef>
              <c:f>Sheet1!$C$2:$C$70</c:f>
              <c:numCache>
                <c:formatCode>General</c:formatCode>
                <c:ptCount val="69"/>
                <c:pt idx="0">
                  <c:v>7.1987089545617652E-2</c:v>
                </c:pt>
                <c:pt idx="1">
                  <c:v>0.13260411865714944</c:v>
                </c:pt>
                <c:pt idx="2">
                  <c:v>0.19196969423351884</c:v>
                </c:pt>
                <c:pt idx="3">
                  <c:v>0.24383351693088751</c:v>
                </c:pt>
                <c:pt idx="4">
                  <c:v>0.29362607655821721</c:v>
                </c:pt>
                <c:pt idx="5">
                  <c:v>0.33649417525963421</c:v>
                </c:pt>
                <c:pt idx="6">
                  <c:v>0.37865906130483296</c:v>
                </c:pt>
                <c:pt idx="7">
                  <c:v>0.41803160913899684</c:v>
                </c:pt>
                <c:pt idx="8">
                  <c:v>0.45128880772036223</c:v>
                </c:pt>
                <c:pt idx="9">
                  <c:v>0.4833858281008685</c:v>
                </c:pt>
                <c:pt idx="10">
                  <c:v>0.51496149947511782</c:v>
                </c:pt>
                <c:pt idx="11">
                  <c:v>0.54619837251171666</c:v>
                </c:pt>
                <c:pt idx="12">
                  <c:v>0.5751731875859265</c:v>
                </c:pt>
                <c:pt idx="13">
                  <c:v>0.60390273700376651</c:v>
                </c:pt>
                <c:pt idx="14">
                  <c:v>0.63218493913799978</c:v>
                </c:pt>
                <c:pt idx="15">
                  <c:v>0.66040413184790758</c:v>
                </c:pt>
                <c:pt idx="16">
                  <c:v>0.68557757461218793</c:v>
                </c:pt>
                <c:pt idx="17">
                  <c:v>0.71029307037661982</c:v>
                </c:pt>
                <c:pt idx="18">
                  <c:v>0.73434500427521898</c:v>
                </c:pt>
                <c:pt idx="19">
                  <c:v>0.7575702584524886</c:v>
                </c:pt>
                <c:pt idx="20">
                  <c:v>0.78060854541271762</c:v>
                </c:pt>
                <c:pt idx="21">
                  <c:v>0.80302056580500136</c:v>
                </c:pt>
                <c:pt idx="22">
                  <c:v>0.82521696048818372</c:v>
                </c:pt>
                <c:pt idx="23">
                  <c:v>0.84645270681420426</c:v>
                </c:pt>
                <c:pt idx="24">
                  <c:v>0.86287274687327997</c:v>
                </c:pt>
                <c:pt idx="25">
                  <c:v>0.87897666020999998</c:v>
                </c:pt>
                <c:pt idx="26">
                  <c:v>0.8946596274081966</c:v>
                </c:pt>
                <c:pt idx="27">
                  <c:v>0.90963378765549185</c:v>
                </c:pt>
                <c:pt idx="28">
                  <c:v>0.92394320829070542</c:v>
                </c:pt>
                <c:pt idx="29">
                  <c:v>0.93702855799104756</c:v>
                </c:pt>
                <c:pt idx="30">
                  <c:v>0.9484592723569607</c:v>
                </c:pt>
                <c:pt idx="31">
                  <c:v>0.95539786623786227</c:v>
                </c:pt>
                <c:pt idx="32">
                  <c:v>0.9612530317151361</c:v>
                </c:pt>
                <c:pt idx="33">
                  <c:v>0.96583407204195282</c:v>
                </c:pt>
                <c:pt idx="34">
                  <c:v>0.96957214049099449</c:v>
                </c:pt>
                <c:pt idx="35">
                  <c:v>0.97328792990682456</c:v>
                </c:pt>
                <c:pt idx="36">
                  <c:v>0.97693747109614415</c:v>
                </c:pt>
                <c:pt idx="37">
                  <c:v>0.98041290213164223</c:v>
                </c:pt>
                <c:pt idx="38">
                  <c:v>0.9838126629706373</c:v>
                </c:pt>
                <c:pt idx="39">
                  <c:v>0.98640448988276719</c:v>
                </c:pt>
                <c:pt idx="40">
                  <c:v>0.98879688509672048</c:v>
                </c:pt>
                <c:pt idx="41">
                  <c:v>0.99114874621060145</c:v>
                </c:pt>
                <c:pt idx="42">
                  <c:v>0.99329047776454338</c:v>
                </c:pt>
                <c:pt idx="43">
                  <c:v>0.99504188458243792</c:v>
                </c:pt>
                <c:pt idx="44">
                  <c:v>0.99648550704724093</c:v>
                </c:pt>
                <c:pt idx="45">
                  <c:v>0.9976779751244288</c:v>
                </c:pt>
                <c:pt idx="46">
                  <c:v>0.99872518783089748</c:v>
                </c:pt>
                <c:pt idx="47">
                  <c:v>0.99918539217772329</c:v>
                </c:pt>
                <c:pt idx="48">
                  <c:v>0.99956727639898568</c:v>
                </c:pt>
                <c:pt idx="49">
                  <c:v>0.99975807129133576</c:v>
                </c:pt>
                <c:pt idx="50">
                  <c:v>0.99986976089395629</c:v>
                </c:pt>
                <c:pt idx="51">
                  <c:v>0.99997202852658429</c:v>
                </c:pt>
                <c:pt idx="52">
                  <c:v>0.99998174493313918</c:v>
                </c:pt>
                <c:pt idx="53">
                  <c:v>0.99998655406365622</c:v>
                </c:pt>
                <c:pt idx="54">
                  <c:v>0.99998949842927887</c:v>
                </c:pt>
                <c:pt idx="55">
                  <c:v>0.99999214835833927</c:v>
                </c:pt>
                <c:pt idx="56">
                  <c:v>0.99999381683219213</c:v>
                </c:pt>
                <c:pt idx="57">
                  <c:v>0.99999538716052427</c:v>
                </c:pt>
                <c:pt idx="58">
                  <c:v>0.9999968593433356</c:v>
                </c:pt>
                <c:pt idx="59">
                  <c:v>0.99999774265302244</c:v>
                </c:pt>
                <c:pt idx="60">
                  <c:v>0.99999833152614692</c:v>
                </c:pt>
                <c:pt idx="61">
                  <c:v>0.99999862596270916</c:v>
                </c:pt>
                <c:pt idx="62">
                  <c:v>0.99999892039927141</c:v>
                </c:pt>
                <c:pt idx="63">
                  <c:v>0.99999921483583365</c:v>
                </c:pt>
                <c:pt idx="64">
                  <c:v>0.99999941112687518</c:v>
                </c:pt>
                <c:pt idx="65">
                  <c:v>0.99999960741791671</c:v>
                </c:pt>
                <c:pt idx="66">
                  <c:v>0.99999980370895825</c:v>
                </c:pt>
                <c:pt idx="67">
                  <c:v>0.99999990185447896</c:v>
                </c:pt>
                <c:pt idx="68">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7</c:f>
              <c:strCache>
                <c:ptCount val="76"/>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pt idx="12">
                  <c:v>Gillette</c:v>
                </c:pt>
                <c:pt idx="13">
                  <c:v>Schick</c:v>
                </c:pt>
                <c:pt idx="14">
                  <c:v>Gillette</c:v>
                </c:pt>
                <c:pt idx="15">
                  <c:v>Gillette</c:v>
                </c:pt>
                <c:pt idx="16">
                  <c:v>Equate</c:v>
                </c:pt>
                <c:pt idx="17">
                  <c:v>Gillette</c:v>
                </c:pt>
                <c:pt idx="18">
                  <c:v>Gillette</c:v>
                </c:pt>
                <c:pt idx="19">
                  <c:v>Schick</c:v>
                </c:pt>
                <c:pt idx="20">
                  <c:v>Bic</c:v>
                </c:pt>
                <c:pt idx="21">
                  <c:v>Equate</c:v>
                </c:pt>
                <c:pt idx="22">
                  <c:v>Bic</c:v>
                </c:pt>
                <c:pt idx="23">
                  <c:v>Bic</c:v>
                </c:pt>
                <c:pt idx="24">
                  <c:v>Equate</c:v>
                </c:pt>
                <c:pt idx="25">
                  <c:v>Schick</c:v>
                </c:pt>
                <c:pt idx="26">
                  <c:v>Gillette</c:v>
                </c:pt>
                <c:pt idx="27">
                  <c:v>Equate</c:v>
                </c:pt>
                <c:pt idx="28">
                  <c:v>Bic</c:v>
                </c:pt>
                <c:pt idx="29">
                  <c:v>Bic</c:v>
                </c:pt>
                <c:pt idx="30">
                  <c:v>Gillette</c:v>
                </c:pt>
                <c:pt idx="31">
                  <c:v>Bic</c:v>
                </c:pt>
                <c:pt idx="32">
                  <c:v>Bic</c:v>
                </c:pt>
                <c:pt idx="33">
                  <c:v>Equate</c:v>
                </c:pt>
                <c:pt idx="34">
                  <c:v>Bic</c:v>
                </c:pt>
                <c:pt idx="35">
                  <c:v>Gillette</c:v>
                </c:pt>
                <c:pt idx="36">
                  <c:v>Gillette</c:v>
                </c:pt>
                <c:pt idx="37">
                  <c:v>Gillette</c:v>
                </c:pt>
                <c:pt idx="38">
                  <c:v>Bic</c:v>
                </c:pt>
                <c:pt idx="39">
                  <c:v>Schick</c:v>
                </c:pt>
                <c:pt idx="40">
                  <c:v>Bic</c:v>
                </c:pt>
                <c:pt idx="41">
                  <c:v>Schick</c:v>
                </c:pt>
                <c:pt idx="42">
                  <c:v>Schick</c:v>
                </c:pt>
                <c:pt idx="43">
                  <c:v>Gillette</c:v>
                </c:pt>
                <c:pt idx="44">
                  <c:v>Gillette</c:v>
                </c:pt>
                <c:pt idx="45">
                  <c:v>Bic</c:v>
                </c:pt>
                <c:pt idx="46">
                  <c:v>Bic</c:v>
                </c:pt>
                <c:pt idx="47">
                  <c:v>Harry's</c:v>
                </c:pt>
                <c:pt idx="48">
                  <c:v>Harry's</c:v>
                </c:pt>
                <c:pt idx="49">
                  <c:v>Schick</c:v>
                </c:pt>
                <c:pt idx="50">
                  <c:v>Gillette</c:v>
                </c:pt>
                <c:pt idx="51">
                  <c:v>Bic</c:v>
                </c:pt>
                <c:pt idx="52">
                  <c:v>Bic</c:v>
                </c:pt>
                <c:pt idx="53">
                  <c:v>Gillette</c:v>
                </c:pt>
                <c:pt idx="54">
                  <c:v>Gillette</c:v>
                </c:pt>
                <c:pt idx="55">
                  <c:v>Schick</c:v>
                </c:pt>
                <c:pt idx="56">
                  <c:v>Schick</c:v>
                </c:pt>
                <c:pt idx="57">
                  <c:v>Schick</c:v>
                </c:pt>
                <c:pt idx="58">
                  <c:v>Schick</c:v>
                </c:pt>
                <c:pt idx="59">
                  <c:v>Gillette</c:v>
                </c:pt>
                <c:pt idx="60">
                  <c:v>Gillette</c:v>
                </c:pt>
                <c:pt idx="61">
                  <c:v>Gillette</c:v>
                </c:pt>
                <c:pt idx="62">
                  <c:v>Gillette</c:v>
                </c:pt>
                <c:pt idx="63">
                  <c:v>Schick</c:v>
                </c:pt>
                <c:pt idx="64">
                  <c:v>Schick</c:v>
                </c:pt>
                <c:pt idx="65">
                  <c:v>Harry's</c:v>
                </c:pt>
                <c:pt idx="66">
                  <c:v>Schick</c:v>
                </c:pt>
                <c:pt idx="67">
                  <c:v>Bic</c:v>
                </c:pt>
                <c:pt idx="68">
                  <c:v>Bic</c:v>
                </c:pt>
                <c:pt idx="69">
                  <c:v>Gillette</c:v>
                </c:pt>
                <c:pt idx="70">
                  <c:v>Bic</c:v>
                </c:pt>
                <c:pt idx="71">
                  <c:v>Schick</c:v>
                </c:pt>
                <c:pt idx="72">
                  <c:v>Equate</c:v>
                </c:pt>
                <c:pt idx="73">
                  <c:v>Bic</c:v>
                </c:pt>
                <c:pt idx="74">
                  <c:v>Bic</c:v>
                </c:pt>
                <c:pt idx="75">
                  <c:v>Gillette</c:v>
                </c:pt>
              </c:strCache>
            </c:strRef>
          </c:cat>
          <c:val>
            <c:numRef>
              <c:f>Sheet1!$B$2:$B$77</c:f>
              <c:numCache>
                <c:formatCode>General</c:formatCode>
                <c:ptCount val="76"/>
                <c:pt idx="0">
                  <c:v>0.94</c:v>
                </c:pt>
                <c:pt idx="1">
                  <c:v>0.96</c:v>
                </c:pt>
                <c:pt idx="2">
                  <c:v>0.98</c:v>
                </c:pt>
                <c:pt idx="3">
                  <c:v>0.88</c:v>
                </c:pt>
                <c:pt idx="4">
                  <c:v>0.98</c:v>
                </c:pt>
                <c:pt idx="5">
                  <c:v>0.77</c:v>
                </c:pt>
                <c:pt idx="6">
                  <c:v>0.81</c:v>
                </c:pt>
                <c:pt idx="7">
                  <c:v>0.95</c:v>
                </c:pt>
                <c:pt idx="8">
                  <c:v>0.99</c:v>
                </c:pt>
                <c:pt idx="9">
                  <c:v>0.95</c:v>
                </c:pt>
                <c:pt idx="10">
                  <c:v>0.94</c:v>
                </c:pt>
                <c:pt idx="11">
                  <c:v>0.76</c:v>
                </c:pt>
                <c:pt idx="12">
                  <c:v>0.67</c:v>
                </c:pt>
                <c:pt idx="13">
                  <c:v>0.87</c:v>
                </c:pt>
                <c:pt idx="14">
                  <c:v>0.82</c:v>
                </c:pt>
                <c:pt idx="15">
                  <c:v>0.71</c:v>
                </c:pt>
                <c:pt idx="16">
                  <c:v>0.99</c:v>
                </c:pt>
                <c:pt idx="17">
                  <c:v>0.84</c:v>
                </c:pt>
                <c:pt idx="18">
                  <c:v>0.91</c:v>
                </c:pt>
                <c:pt idx="19">
                  <c:v>0.95</c:v>
                </c:pt>
                <c:pt idx="20">
                  <c:v>0.77</c:v>
                </c:pt>
                <c:pt idx="21">
                  <c:v>0.9</c:v>
                </c:pt>
                <c:pt idx="22">
                  <c:v>0.9</c:v>
                </c:pt>
                <c:pt idx="23">
                  <c:v>0.95</c:v>
                </c:pt>
                <c:pt idx="24">
                  <c:v>0.95</c:v>
                </c:pt>
                <c:pt idx="25">
                  <c:v>0.68</c:v>
                </c:pt>
                <c:pt idx="26">
                  <c:v>0.69</c:v>
                </c:pt>
                <c:pt idx="27">
                  <c:v>0.94</c:v>
                </c:pt>
                <c:pt idx="28">
                  <c:v>0.85</c:v>
                </c:pt>
                <c:pt idx="29">
                  <c:v>0.84</c:v>
                </c:pt>
                <c:pt idx="30">
                  <c:v>0.7</c:v>
                </c:pt>
                <c:pt idx="31">
                  <c:v>0.77</c:v>
                </c:pt>
                <c:pt idx="32">
                  <c:v>0.83</c:v>
                </c:pt>
                <c:pt idx="33">
                  <c:v>0.97</c:v>
                </c:pt>
                <c:pt idx="34">
                  <c:v>0.81</c:v>
                </c:pt>
                <c:pt idx="35">
                  <c:v>0.78</c:v>
                </c:pt>
                <c:pt idx="36">
                  <c:v>0.77</c:v>
                </c:pt>
                <c:pt idx="37">
                  <c:v>0.6</c:v>
                </c:pt>
                <c:pt idx="38">
                  <c:v>0.73</c:v>
                </c:pt>
                <c:pt idx="39">
                  <c:v>0.84</c:v>
                </c:pt>
                <c:pt idx="40">
                  <c:v>0.78</c:v>
                </c:pt>
                <c:pt idx="41">
                  <c:v>0.64</c:v>
                </c:pt>
                <c:pt idx="42">
                  <c:v>0.88</c:v>
                </c:pt>
                <c:pt idx="43">
                  <c:v>0.61</c:v>
                </c:pt>
                <c:pt idx="44">
                  <c:v>0.65</c:v>
                </c:pt>
                <c:pt idx="45">
                  <c:v>0.48</c:v>
                </c:pt>
                <c:pt idx="46">
                  <c:v>0.67</c:v>
                </c:pt>
                <c:pt idx="47">
                  <c:v>0.61</c:v>
                </c:pt>
                <c:pt idx="48">
                  <c:v>0.48</c:v>
                </c:pt>
                <c:pt idx="49">
                  <c:v>0.04</c:v>
                </c:pt>
                <c:pt idx="50">
                  <c:v>0.36</c:v>
                </c:pt>
                <c:pt idx="51">
                  <c:v>0.03</c:v>
                </c:pt>
                <c:pt idx="52">
                  <c:v>0.02</c:v>
                </c:pt>
                <c:pt idx="53">
                  <c:v>0.01</c:v>
                </c:pt>
                <c:pt idx="54">
                  <c:v>0.01</c:v>
                </c:pt>
                <c:pt idx="55">
                  <c:v>0.01</c:v>
                </c:pt>
                <c:pt idx="56">
                  <c:v>0.01</c:v>
                </c:pt>
                <c:pt idx="57">
                  <c:v>0.01</c:v>
                </c:pt>
                <c:pt idx="58">
                  <c:v>0.01</c:v>
                </c:pt>
                <c:pt idx="59">
                  <c:v>0.01</c:v>
                </c:pt>
                <c:pt idx="60">
                  <c:v>0.01</c:v>
                </c:pt>
                <c:pt idx="61">
                  <c:v>0.01</c:v>
                </c:pt>
                <c:pt idx="62">
                  <c:v>0.01</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7</c:f>
              <c:strCache>
                <c:ptCount val="76"/>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pt idx="12">
                  <c:v>Gillette</c:v>
                </c:pt>
                <c:pt idx="13">
                  <c:v>Schick</c:v>
                </c:pt>
                <c:pt idx="14">
                  <c:v>Gillette</c:v>
                </c:pt>
                <c:pt idx="15">
                  <c:v>Gillette</c:v>
                </c:pt>
                <c:pt idx="16">
                  <c:v>Equate</c:v>
                </c:pt>
                <c:pt idx="17">
                  <c:v>Gillette</c:v>
                </c:pt>
                <c:pt idx="18">
                  <c:v>Gillette</c:v>
                </c:pt>
                <c:pt idx="19">
                  <c:v>Schick</c:v>
                </c:pt>
                <c:pt idx="20">
                  <c:v>Bic</c:v>
                </c:pt>
                <c:pt idx="21">
                  <c:v>Equate</c:v>
                </c:pt>
                <c:pt idx="22">
                  <c:v>Bic</c:v>
                </c:pt>
                <c:pt idx="23">
                  <c:v>Bic</c:v>
                </c:pt>
                <c:pt idx="24">
                  <c:v>Equate</c:v>
                </c:pt>
                <c:pt idx="25">
                  <c:v>Schick</c:v>
                </c:pt>
                <c:pt idx="26">
                  <c:v>Gillette</c:v>
                </c:pt>
                <c:pt idx="27">
                  <c:v>Equate</c:v>
                </c:pt>
                <c:pt idx="28">
                  <c:v>Bic</c:v>
                </c:pt>
                <c:pt idx="29">
                  <c:v>Bic</c:v>
                </c:pt>
                <c:pt idx="30">
                  <c:v>Gillette</c:v>
                </c:pt>
                <c:pt idx="31">
                  <c:v>Bic</c:v>
                </c:pt>
                <c:pt idx="32">
                  <c:v>Bic</c:v>
                </c:pt>
                <c:pt idx="33">
                  <c:v>Equate</c:v>
                </c:pt>
                <c:pt idx="34">
                  <c:v>Bic</c:v>
                </c:pt>
                <c:pt idx="35">
                  <c:v>Gillette</c:v>
                </c:pt>
                <c:pt idx="36">
                  <c:v>Gillette</c:v>
                </c:pt>
                <c:pt idx="37">
                  <c:v>Gillette</c:v>
                </c:pt>
                <c:pt idx="38">
                  <c:v>Bic</c:v>
                </c:pt>
                <c:pt idx="39">
                  <c:v>Schick</c:v>
                </c:pt>
                <c:pt idx="40">
                  <c:v>Bic</c:v>
                </c:pt>
                <c:pt idx="41">
                  <c:v>Schick</c:v>
                </c:pt>
                <c:pt idx="42">
                  <c:v>Schick</c:v>
                </c:pt>
                <c:pt idx="43">
                  <c:v>Gillette</c:v>
                </c:pt>
                <c:pt idx="44">
                  <c:v>Gillette</c:v>
                </c:pt>
                <c:pt idx="45">
                  <c:v>Bic</c:v>
                </c:pt>
                <c:pt idx="46">
                  <c:v>Bic</c:v>
                </c:pt>
                <c:pt idx="47">
                  <c:v>Harry's</c:v>
                </c:pt>
                <c:pt idx="48">
                  <c:v>Harry's</c:v>
                </c:pt>
                <c:pt idx="49">
                  <c:v>Schick</c:v>
                </c:pt>
                <c:pt idx="50">
                  <c:v>Gillette</c:v>
                </c:pt>
                <c:pt idx="51">
                  <c:v>Bic</c:v>
                </c:pt>
                <c:pt idx="52">
                  <c:v>Bic</c:v>
                </c:pt>
                <c:pt idx="53">
                  <c:v>Gillette</c:v>
                </c:pt>
                <c:pt idx="54">
                  <c:v>Gillette</c:v>
                </c:pt>
                <c:pt idx="55">
                  <c:v>Schick</c:v>
                </c:pt>
                <c:pt idx="56">
                  <c:v>Schick</c:v>
                </c:pt>
                <c:pt idx="57">
                  <c:v>Schick</c:v>
                </c:pt>
                <c:pt idx="58">
                  <c:v>Schick</c:v>
                </c:pt>
                <c:pt idx="59">
                  <c:v>Gillette</c:v>
                </c:pt>
                <c:pt idx="60">
                  <c:v>Gillette</c:v>
                </c:pt>
                <c:pt idx="61">
                  <c:v>Gillette</c:v>
                </c:pt>
                <c:pt idx="62">
                  <c:v>Gillette</c:v>
                </c:pt>
                <c:pt idx="63">
                  <c:v>Schick</c:v>
                </c:pt>
                <c:pt idx="64">
                  <c:v>Schick</c:v>
                </c:pt>
                <c:pt idx="65">
                  <c:v>Harry's</c:v>
                </c:pt>
                <c:pt idx="66">
                  <c:v>Schick</c:v>
                </c:pt>
                <c:pt idx="67">
                  <c:v>Bic</c:v>
                </c:pt>
                <c:pt idx="68">
                  <c:v>Bic</c:v>
                </c:pt>
                <c:pt idx="69">
                  <c:v>Gillette</c:v>
                </c:pt>
                <c:pt idx="70">
                  <c:v>Bic</c:v>
                </c:pt>
                <c:pt idx="71">
                  <c:v>Schick</c:v>
                </c:pt>
                <c:pt idx="72">
                  <c:v>Equate</c:v>
                </c:pt>
                <c:pt idx="73">
                  <c:v>Bic</c:v>
                </c:pt>
                <c:pt idx="74">
                  <c:v>Bic</c:v>
                </c:pt>
                <c:pt idx="75">
                  <c:v>Gillette</c:v>
                </c:pt>
              </c:strCache>
            </c:strRef>
          </c:cat>
          <c:val>
            <c:numRef>
              <c:f>Sheet1!$C$2:$C$77</c:f>
              <c:numCache>
                <c:formatCode>General</c:formatCode>
                <c:ptCount val="76"/>
                <c:pt idx="0">
                  <c:v>7.3717593719280022E-2</c:v>
                </c:pt>
                <c:pt idx="1">
                  <c:v>0.12889610252734976</c:v>
                </c:pt>
                <c:pt idx="2">
                  <c:v>0.18048362463615092</c:v>
                </c:pt>
                <c:pt idx="3">
                  <c:v>0.23044884459357171</c:v>
                </c:pt>
                <c:pt idx="4">
                  <c:v>0.27695591270305125</c:v>
                </c:pt>
                <c:pt idx="5">
                  <c:v>0.32044395814130855</c:v>
                </c:pt>
                <c:pt idx="6">
                  <c:v>0.35709418972082069</c:v>
                </c:pt>
                <c:pt idx="7">
                  <c:v>0.39362193423026881</c:v>
                </c:pt>
                <c:pt idx="8">
                  <c:v>0.42807851283220688</c:v>
                </c:pt>
                <c:pt idx="9">
                  <c:v>0.4618246204376345</c:v>
                </c:pt>
                <c:pt idx="10">
                  <c:v>0.49332541280940345</c:v>
                </c:pt>
                <c:pt idx="11">
                  <c:v>0.5232980295141717</c:v>
                </c:pt>
                <c:pt idx="12">
                  <c:v>0.55239913308588084</c:v>
                </c:pt>
                <c:pt idx="13">
                  <c:v>0.57871315758712738</c:v>
                </c:pt>
                <c:pt idx="14">
                  <c:v>0.60410653615687238</c:v>
                </c:pt>
                <c:pt idx="15">
                  <c:v>0.6289468833057712</c:v>
                </c:pt>
                <c:pt idx="16">
                  <c:v>0.65283446807613665</c:v>
                </c:pt>
                <c:pt idx="17">
                  <c:v>0.6760607912986657</c:v>
                </c:pt>
                <c:pt idx="18">
                  <c:v>0.69904168047967719</c:v>
                </c:pt>
                <c:pt idx="19">
                  <c:v>0.72112637515306099</c:v>
                </c:pt>
                <c:pt idx="20">
                  <c:v>0.74147892789321102</c:v>
                </c:pt>
                <c:pt idx="21">
                  <c:v>0.76116853278042973</c:v>
                </c:pt>
                <c:pt idx="22">
                  <c:v>0.77967289513673455</c:v>
                </c:pt>
                <c:pt idx="23">
                  <c:v>0.79782834563888938</c:v>
                </c:pt>
                <c:pt idx="24">
                  <c:v>0.81596693309009671</c:v>
                </c:pt>
                <c:pt idx="25">
                  <c:v>0.8335488099093421</c:v>
                </c:pt>
                <c:pt idx="26">
                  <c:v>0.85070320838706848</c:v>
                </c:pt>
                <c:pt idx="27">
                  <c:v>0.86785193474765798</c:v>
                </c:pt>
                <c:pt idx="28">
                  <c:v>0.88474863514681401</c:v>
                </c:pt>
                <c:pt idx="29">
                  <c:v>0.90023420478259131</c:v>
                </c:pt>
                <c:pt idx="30">
                  <c:v>0.91570551747529483</c:v>
                </c:pt>
                <c:pt idx="31">
                  <c:v>0.92563931083776807</c:v>
                </c:pt>
                <c:pt idx="32">
                  <c:v>0.93536783488007136</c:v>
                </c:pt>
                <c:pt idx="33">
                  <c:v>0.94480186873264616</c:v>
                </c:pt>
                <c:pt idx="34">
                  <c:v>0.9541147952193253</c:v>
                </c:pt>
                <c:pt idx="35">
                  <c:v>0.9613453648646838</c:v>
                </c:pt>
                <c:pt idx="36">
                  <c:v>0.96685666981571394</c:v>
                </c:pt>
                <c:pt idx="37">
                  <c:v>0.97121730149027241</c:v>
                </c:pt>
                <c:pt idx="38">
                  <c:v>0.97516141580642779</c:v>
                </c:pt>
                <c:pt idx="39">
                  <c:v>0.97841981715087289</c:v>
                </c:pt>
                <c:pt idx="40">
                  <c:v>0.98124667769152529</c:v>
                </c:pt>
                <c:pt idx="41">
                  <c:v>0.98406571990855662</c:v>
                </c:pt>
                <c:pt idx="42">
                  <c:v>0.98685333553064036</c:v>
                </c:pt>
                <c:pt idx="43">
                  <c:v>0.98963681204021881</c:v>
                </c:pt>
                <c:pt idx="44">
                  <c:v>0.99232508896217542</c:v>
                </c:pt>
                <c:pt idx="45">
                  <c:v>0.9945517781895602</c:v>
                </c:pt>
                <c:pt idx="46">
                  <c:v>0.99673056102220781</c:v>
                </c:pt>
                <c:pt idx="47">
                  <c:v>0.99811386775152322</c:v>
                </c:pt>
                <c:pt idx="48">
                  <c:v>0.99937200465266929</c:v>
                </c:pt>
                <c:pt idx="49">
                  <c:v>0.99963997386227121</c:v>
                </c:pt>
                <c:pt idx="50">
                  <c:v>0.99983251924399896</c:v>
                </c:pt>
                <c:pt idx="51">
                  <c:v>0.9999471113402103</c:v>
                </c:pt>
                <c:pt idx="52">
                  <c:v>0.99996757695204208</c:v>
                </c:pt>
                <c:pt idx="53">
                  <c:v>0.99997294246825263</c:v>
                </c:pt>
                <c:pt idx="54">
                  <c:v>0.99997784808307377</c:v>
                </c:pt>
                <c:pt idx="55">
                  <c:v>0.99998099074256852</c:v>
                </c:pt>
                <c:pt idx="56">
                  <c:v>0.99998352020021064</c:v>
                </c:pt>
                <c:pt idx="57">
                  <c:v>0.99998558975646323</c:v>
                </c:pt>
                <c:pt idx="58">
                  <c:v>0.99998735271178951</c:v>
                </c:pt>
                <c:pt idx="59">
                  <c:v>0.99998888571642108</c:v>
                </c:pt>
                <c:pt idx="60">
                  <c:v>0.99998995881966324</c:v>
                </c:pt>
                <c:pt idx="61">
                  <c:v>0.99999103192290539</c:v>
                </c:pt>
                <c:pt idx="62">
                  <c:v>0.99999210502614755</c:v>
                </c:pt>
                <c:pt idx="63">
                  <c:v>0.99999302482892649</c:v>
                </c:pt>
                <c:pt idx="64">
                  <c:v>0.99999394463170543</c:v>
                </c:pt>
                <c:pt idx="65">
                  <c:v>0.99999478778425277</c:v>
                </c:pt>
                <c:pt idx="66">
                  <c:v>0.99999563093680011</c:v>
                </c:pt>
                <c:pt idx="67">
                  <c:v>0.99999647408934744</c:v>
                </c:pt>
                <c:pt idx="68">
                  <c:v>0.99999716394143168</c:v>
                </c:pt>
                <c:pt idx="69">
                  <c:v>0.99999785379351591</c:v>
                </c:pt>
                <c:pt idx="70">
                  <c:v>0.99999854364560015</c:v>
                </c:pt>
                <c:pt idx="71">
                  <c:v>0.99999900354698967</c:v>
                </c:pt>
                <c:pt idx="72">
                  <c:v>0.9999994634483792</c:v>
                </c:pt>
                <c:pt idx="73">
                  <c:v>0.99999977004930551</c:v>
                </c:pt>
                <c:pt idx="74">
                  <c:v>0.99999992334976873</c:v>
                </c:pt>
                <c:pt idx="75">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0</c:f>
              <c:strCache>
                <c:ptCount val="119"/>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pt idx="13">
                  <c:v>Gillette</c:v>
                </c:pt>
                <c:pt idx="14">
                  <c:v>Gillette</c:v>
                </c:pt>
                <c:pt idx="15">
                  <c:v>Equate</c:v>
                </c:pt>
                <c:pt idx="16">
                  <c:v>Gillette</c:v>
                </c:pt>
                <c:pt idx="17">
                  <c:v>Bic</c:v>
                </c:pt>
                <c:pt idx="18">
                  <c:v>Gillette</c:v>
                </c:pt>
                <c:pt idx="19">
                  <c:v>Equate</c:v>
                </c:pt>
                <c:pt idx="20">
                  <c:v>Bic</c:v>
                </c:pt>
                <c:pt idx="21">
                  <c:v>Equate</c:v>
                </c:pt>
                <c:pt idx="22">
                  <c:v>Gillette</c:v>
                </c:pt>
                <c:pt idx="23">
                  <c:v>Gillette</c:v>
                </c:pt>
                <c:pt idx="24">
                  <c:v>Bic</c:v>
                </c:pt>
                <c:pt idx="25">
                  <c:v>Equate</c:v>
                </c:pt>
                <c:pt idx="26">
                  <c:v>Bic</c:v>
                </c:pt>
                <c:pt idx="27">
                  <c:v>Schick</c:v>
                </c:pt>
                <c:pt idx="28">
                  <c:v>Bic</c:v>
                </c:pt>
                <c:pt idx="29">
                  <c:v>Gillette</c:v>
                </c:pt>
                <c:pt idx="30">
                  <c:v>Gillette</c:v>
                </c:pt>
                <c:pt idx="31">
                  <c:v>Bic</c:v>
                </c:pt>
                <c:pt idx="32">
                  <c:v>Bic</c:v>
                </c:pt>
                <c:pt idx="33">
                  <c:v>Equate</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Bic</c:v>
                </c:pt>
                <c:pt idx="48">
                  <c:v>Gillette</c:v>
                </c:pt>
                <c:pt idx="49">
                  <c:v>Harry's</c:v>
                </c:pt>
                <c:pt idx="50">
                  <c:v>Harry's</c:v>
                </c:pt>
                <c:pt idx="51">
                  <c:v>Gillette</c:v>
                </c:pt>
                <c:pt idx="52">
                  <c:v>Bic</c:v>
                </c:pt>
                <c:pt idx="53">
                  <c:v>Equate</c:v>
                </c:pt>
                <c:pt idx="54">
                  <c:v>Gillette</c:v>
                </c:pt>
                <c:pt idx="55">
                  <c:v>Gillette</c:v>
                </c:pt>
                <c:pt idx="56">
                  <c:v>Schick</c:v>
                </c:pt>
                <c:pt idx="57">
                  <c:v>Gillette</c:v>
                </c:pt>
                <c:pt idx="58">
                  <c:v>Schick</c:v>
                </c:pt>
                <c:pt idx="59">
                  <c:v>Schick</c:v>
                </c:pt>
                <c:pt idx="60">
                  <c:v>Bic</c:v>
                </c:pt>
                <c:pt idx="61">
                  <c:v>Gillette</c:v>
                </c:pt>
                <c:pt idx="62">
                  <c:v>Harry's</c:v>
                </c:pt>
                <c:pt idx="63">
                  <c:v>Gillette</c:v>
                </c:pt>
                <c:pt idx="64">
                  <c:v>Schick</c:v>
                </c:pt>
                <c:pt idx="65">
                  <c:v>Schick</c:v>
                </c:pt>
                <c:pt idx="66">
                  <c:v>Gillette</c:v>
                </c:pt>
                <c:pt idx="67">
                  <c:v>Bic</c:v>
                </c:pt>
                <c:pt idx="68">
                  <c:v>Gillette</c:v>
                </c:pt>
                <c:pt idx="69">
                  <c:v>Gillette</c:v>
                </c:pt>
                <c:pt idx="70">
                  <c:v>Equate</c:v>
                </c:pt>
                <c:pt idx="71">
                  <c:v>Gillette</c:v>
                </c:pt>
                <c:pt idx="72">
                  <c:v>Schick</c:v>
                </c:pt>
                <c:pt idx="73">
                  <c:v>Bic</c:v>
                </c:pt>
                <c:pt idx="74">
                  <c:v>Schick</c:v>
                </c:pt>
                <c:pt idx="75">
                  <c:v>Schick</c:v>
                </c:pt>
                <c:pt idx="76">
                  <c:v>Bic</c:v>
                </c:pt>
                <c:pt idx="77">
                  <c:v>Bic</c:v>
                </c:pt>
                <c:pt idx="78">
                  <c:v>Schick</c:v>
                </c:pt>
                <c:pt idx="79">
                  <c:v>Bic</c:v>
                </c:pt>
                <c:pt idx="80">
                  <c:v>Bic</c:v>
                </c:pt>
                <c:pt idx="81">
                  <c:v>Equate</c:v>
                </c:pt>
                <c:pt idx="82">
                  <c:v>Equate</c:v>
                </c:pt>
                <c:pt idx="83">
                  <c:v>Bic</c:v>
                </c:pt>
                <c:pt idx="84">
                  <c:v>Schick</c:v>
                </c:pt>
                <c:pt idx="85">
                  <c:v>Schick</c:v>
                </c:pt>
                <c:pt idx="86">
                  <c:v>Bic</c:v>
                </c:pt>
                <c:pt idx="87">
                  <c:v>Gillette</c:v>
                </c:pt>
                <c:pt idx="88">
                  <c:v>Gillette</c:v>
                </c:pt>
                <c:pt idx="89">
                  <c:v>Schick</c:v>
                </c:pt>
                <c:pt idx="90">
                  <c:v>Gillette</c:v>
                </c:pt>
                <c:pt idx="91">
                  <c:v>Schick</c:v>
                </c:pt>
                <c:pt idx="92">
                  <c:v>Gillette</c:v>
                </c:pt>
                <c:pt idx="93">
                  <c:v>Schick</c:v>
                </c:pt>
                <c:pt idx="94">
                  <c:v>Equate</c:v>
                </c:pt>
                <c:pt idx="95">
                  <c:v>Barbasol</c:v>
                </c:pt>
                <c:pt idx="96">
                  <c:v>Schick</c:v>
                </c:pt>
                <c:pt idx="97">
                  <c:v>Edgewell Pe</c:v>
                </c:pt>
                <c:pt idx="98">
                  <c:v>Gillette</c:v>
                </c:pt>
                <c:pt idx="99">
                  <c:v>Bic</c:v>
                </c:pt>
                <c:pt idx="100">
                  <c:v>Bic</c:v>
                </c:pt>
                <c:pt idx="101">
                  <c:v>Barbasol</c:v>
                </c:pt>
                <c:pt idx="102">
                  <c:v>Bic</c:v>
                </c:pt>
                <c:pt idx="103">
                  <c:v>Schick</c:v>
                </c:pt>
                <c:pt idx="104">
                  <c:v>Gillette</c:v>
                </c:pt>
                <c:pt idx="105">
                  <c:v>Personna</c:v>
                </c:pt>
                <c:pt idx="106">
                  <c:v>Gillette</c:v>
                </c:pt>
                <c:pt idx="107">
                  <c:v>Gillette</c:v>
                </c:pt>
                <c:pt idx="108">
                  <c:v>Schick</c:v>
                </c:pt>
                <c:pt idx="109">
                  <c:v>Schick</c:v>
                </c:pt>
                <c:pt idx="110">
                  <c:v>Equate</c:v>
                </c:pt>
                <c:pt idx="111">
                  <c:v>Schick</c:v>
                </c:pt>
                <c:pt idx="112">
                  <c:v>Bic</c:v>
                </c:pt>
                <c:pt idx="113">
                  <c:v>Bic</c:v>
                </c:pt>
                <c:pt idx="114">
                  <c:v>Gillette</c:v>
                </c:pt>
                <c:pt idx="115">
                  <c:v>Gillette</c:v>
                </c:pt>
                <c:pt idx="116">
                  <c:v>Gillette</c:v>
                </c:pt>
                <c:pt idx="117">
                  <c:v>Bic</c:v>
                </c:pt>
                <c:pt idx="118">
                  <c:v>Schick</c:v>
                </c:pt>
              </c:strCache>
            </c:strRef>
          </c:cat>
          <c:val>
            <c:numRef>
              <c:f>Sheet1!$B$2:$B$120</c:f>
              <c:numCache>
                <c:formatCode>General</c:formatCode>
                <c:ptCount val="119"/>
                <c:pt idx="0">
                  <c:v>0.92</c:v>
                </c:pt>
                <c:pt idx="1">
                  <c:v>0.99</c:v>
                </c:pt>
                <c:pt idx="2">
                  <c:v>0.98</c:v>
                </c:pt>
                <c:pt idx="3">
                  <c:v>0.95</c:v>
                </c:pt>
                <c:pt idx="4">
                  <c:v>0.87</c:v>
                </c:pt>
                <c:pt idx="5">
                  <c:v>0.97</c:v>
                </c:pt>
                <c:pt idx="6">
                  <c:v>0.96</c:v>
                </c:pt>
                <c:pt idx="7">
                  <c:v>0.83</c:v>
                </c:pt>
                <c:pt idx="8">
                  <c:v>0.99</c:v>
                </c:pt>
                <c:pt idx="9">
                  <c:v>0.68</c:v>
                </c:pt>
                <c:pt idx="10">
                  <c:v>0.95</c:v>
                </c:pt>
                <c:pt idx="11">
                  <c:v>0.87</c:v>
                </c:pt>
                <c:pt idx="12">
                  <c:v>0.96</c:v>
                </c:pt>
                <c:pt idx="13">
                  <c:v>0.81</c:v>
                </c:pt>
                <c:pt idx="14">
                  <c:v>0.63</c:v>
                </c:pt>
                <c:pt idx="15">
                  <c:v>0.99</c:v>
                </c:pt>
                <c:pt idx="16">
                  <c:v>0.84</c:v>
                </c:pt>
                <c:pt idx="17">
                  <c:v>0.81</c:v>
                </c:pt>
                <c:pt idx="18">
                  <c:v>0.9</c:v>
                </c:pt>
                <c:pt idx="19">
                  <c:v>0.93</c:v>
                </c:pt>
                <c:pt idx="20">
                  <c:v>0.9</c:v>
                </c:pt>
                <c:pt idx="21">
                  <c:v>0.97</c:v>
                </c:pt>
                <c:pt idx="22">
                  <c:v>0.67</c:v>
                </c:pt>
                <c:pt idx="23">
                  <c:v>0.65</c:v>
                </c:pt>
                <c:pt idx="24">
                  <c:v>0.91</c:v>
                </c:pt>
                <c:pt idx="25">
                  <c:v>0.95</c:v>
                </c:pt>
                <c:pt idx="26">
                  <c:v>0.96</c:v>
                </c:pt>
                <c:pt idx="27">
                  <c:v>0.73</c:v>
                </c:pt>
                <c:pt idx="28">
                  <c:v>0.9</c:v>
                </c:pt>
                <c:pt idx="29">
                  <c:v>0.64</c:v>
                </c:pt>
                <c:pt idx="30">
                  <c:v>0.67</c:v>
                </c:pt>
                <c:pt idx="31">
                  <c:v>0.83</c:v>
                </c:pt>
                <c:pt idx="32">
                  <c:v>0.87</c:v>
                </c:pt>
                <c:pt idx="33">
                  <c:v>0.98</c:v>
                </c:pt>
                <c:pt idx="34">
                  <c:v>0.8</c:v>
                </c:pt>
                <c:pt idx="35">
                  <c:v>0.87</c:v>
                </c:pt>
                <c:pt idx="36">
                  <c:v>0.69</c:v>
                </c:pt>
                <c:pt idx="37">
                  <c:v>0.74</c:v>
                </c:pt>
                <c:pt idx="38">
                  <c:v>0.52</c:v>
                </c:pt>
                <c:pt idx="39">
                  <c:v>0.78</c:v>
                </c:pt>
                <c:pt idx="40">
                  <c:v>0.56000000000000005</c:v>
                </c:pt>
                <c:pt idx="41">
                  <c:v>0.86</c:v>
                </c:pt>
                <c:pt idx="42">
                  <c:v>0.91</c:v>
                </c:pt>
                <c:pt idx="43">
                  <c:v>0.84</c:v>
                </c:pt>
                <c:pt idx="44">
                  <c:v>0.61</c:v>
                </c:pt>
                <c:pt idx="45">
                  <c:v>0.66</c:v>
                </c:pt>
                <c:pt idx="46">
                  <c:v>0.75</c:v>
                </c:pt>
                <c:pt idx="47">
                  <c:v>0.53</c:v>
                </c:pt>
                <c:pt idx="48">
                  <c:v>0.56000000000000005</c:v>
                </c:pt>
                <c:pt idx="49">
                  <c:v>0.68</c:v>
                </c:pt>
                <c:pt idx="50">
                  <c:v>0.55000000000000004</c:v>
                </c:pt>
                <c:pt idx="51">
                  <c:v>0.33</c:v>
                </c:pt>
                <c:pt idx="52">
                  <c:v>0.01</c:v>
                </c:pt>
                <c:pt idx="53">
                  <c:v>0.01</c:v>
                </c:pt>
                <c:pt idx="54">
                  <c:v>0.01</c:v>
                </c:pt>
                <c:pt idx="55">
                  <c:v>0.01</c:v>
                </c:pt>
                <c:pt idx="56">
                  <c:v>0.01</c:v>
                </c:pt>
                <c:pt idx="57">
                  <c:v>0.01</c:v>
                </c:pt>
                <c:pt idx="58">
                  <c:v>0.01</c:v>
                </c:pt>
                <c:pt idx="59">
                  <c:v>0.01</c:v>
                </c:pt>
                <c:pt idx="60">
                  <c:v>0.01</c:v>
                </c:pt>
                <c:pt idx="61">
                  <c:v>0.01</c:v>
                </c:pt>
                <c:pt idx="62">
                  <c:v>0.01</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01</c:v>
                </c:pt>
                <c:pt idx="102">
                  <c:v>0.01</c:v>
                </c:pt>
                <c:pt idx="103">
                  <c:v>0.01</c:v>
                </c:pt>
                <c:pt idx="104">
                  <c:v>0.01</c:v>
                </c:pt>
                <c:pt idx="105">
                  <c:v>0.01</c:v>
                </c:pt>
                <c:pt idx="106">
                  <c:v>0.01</c:v>
                </c:pt>
                <c:pt idx="107">
                  <c:v>0.01</c:v>
                </c:pt>
                <c:pt idx="108">
                  <c:v>0.01</c:v>
                </c:pt>
                <c:pt idx="109">
                  <c:v>0.01</c:v>
                </c:pt>
                <c:pt idx="110">
                  <c:v>0.01</c:v>
                </c:pt>
                <c:pt idx="111">
                  <c:v>0.01</c:v>
                </c:pt>
                <c:pt idx="112">
                  <c:v>0.01</c:v>
                </c:pt>
                <c:pt idx="113">
                  <c:v>0.01</c:v>
                </c:pt>
                <c:pt idx="114">
                  <c:v>0.01</c:v>
                </c:pt>
                <c:pt idx="115">
                  <c:v>0.01</c:v>
                </c:pt>
                <c:pt idx="116">
                  <c:v>0.01</c:v>
                </c:pt>
                <c:pt idx="117">
                  <c:v>0.01</c:v>
                </c:pt>
                <c:pt idx="11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0</c:f>
              <c:strCache>
                <c:ptCount val="119"/>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pt idx="13">
                  <c:v>Gillette</c:v>
                </c:pt>
                <c:pt idx="14">
                  <c:v>Gillette</c:v>
                </c:pt>
                <c:pt idx="15">
                  <c:v>Equate</c:v>
                </c:pt>
                <c:pt idx="16">
                  <c:v>Gillette</c:v>
                </c:pt>
                <c:pt idx="17">
                  <c:v>Bic</c:v>
                </c:pt>
                <c:pt idx="18">
                  <c:v>Gillette</c:v>
                </c:pt>
                <c:pt idx="19">
                  <c:v>Equate</c:v>
                </c:pt>
                <c:pt idx="20">
                  <c:v>Bic</c:v>
                </c:pt>
                <c:pt idx="21">
                  <c:v>Equate</c:v>
                </c:pt>
                <c:pt idx="22">
                  <c:v>Gillette</c:v>
                </c:pt>
                <c:pt idx="23">
                  <c:v>Gillette</c:v>
                </c:pt>
                <c:pt idx="24">
                  <c:v>Bic</c:v>
                </c:pt>
                <c:pt idx="25">
                  <c:v>Equate</c:v>
                </c:pt>
                <c:pt idx="26">
                  <c:v>Bic</c:v>
                </c:pt>
                <c:pt idx="27">
                  <c:v>Schick</c:v>
                </c:pt>
                <c:pt idx="28">
                  <c:v>Bic</c:v>
                </c:pt>
                <c:pt idx="29">
                  <c:v>Gillette</c:v>
                </c:pt>
                <c:pt idx="30">
                  <c:v>Gillette</c:v>
                </c:pt>
                <c:pt idx="31">
                  <c:v>Bic</c:v>
                </c:pt>
                <c:pt idx="32">
                  <c:v>Bic</c:v>
                </c:pt>
                <c:pt idx="33">
                  <c:v>Equate</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Bic</c:v>
                </c:pt>
                <c:pt idx="48">
                  <c:v>Gillette</c:v>
                </c:pt>
                <c:pt idx="49">
                  <c:v>Harry's</c:v>
                </c:pt>
                <c:pt idx="50">
                  <c:v>Harry's</c:v>
                </c:pt>
                <c:pt idx="51">
                  <c:v>Gillette</c:v>
                </c:pt>
                <c:pt idx="52">
                  <c:v>Bic</c:v>
                </c:pt>
                <c:pt idx="53">
                  <c:v>Equate</c:v>
                </c:pt>
                <c:pt idx="54">
                  <c:v>Gillette</c:v>
                </c:pt>
                <c:pt idx="55">
                  <c:v>Gillette</c:v>
                </c:pt>
                <c:pt idx="56">
                  <c:v>Schick</c:v>
                </c:pt>
                <c:pt idx="57">
                  <c:v>Gillette</c:v>
                </c:pt>
                <c:pt idx="58">
                  <c:v>Schick</c:v>
                </c:pt>
                <c:pt idx="59">
                  <c:v>Schick</c:v>
                </c:pt>
                <c:pt idx="60">
                  <c:v>Bic</c:v>
                </c:pt>
                <c:pt idx="61">
                  <c:v>Gillette</c:v>
                </c:pt>
                <c:pt idx="62">
                  <c:v>Harry's</c:v>
                </c:pt>
                <c:pt idx="63">
                  <c:v>Gillette</c:v>
                </c:pt>
                <c:pt idx="64">
                  <c:v>Schick</c:v>
                </c:pt>
                <c:pt idx="65">
                  <c:v>Schick</c:v>
                </c:pt>
                <c:pt idx="66">
                  <c:v>Gillette</c:v>
                </c:pt>
                <c:pt idx="67">
                  <c:v>Bic</c:v>
                </c:pt>
                <c:pt idx="68">
                  <c:v>Gillette</c:v>
                </c:pt>
                <c:pt idx="69">
                  <c:v>Gillette</c:v>
                </c:pt>
                <c:pt idx="70">
                  <c:v>Equate</c:v>
                </c:pt>
                <c:pt idx="71">
                  <c:v>Gillette</c:v>
                </c:pt>
                <c:pt idx="72">
                  <c:v>Schick</c:v>
                </c:pt>
                <c:pt idx="73">
                  <c:v>Bic</c:v>
                </c:pt>
                <c:pt idx="74">
                  <c:v>Schick</c:v>
                </c:pt>
                <c:pt idx="75">
                  <c:v>Schick</c:v>
                </c:pt>
                <c:pt idx="76">
                  <c:v>Bic</c:v>
                </c:pt>
                <c:pt idx="77">
                  <c:v>Bic</c:v>
                </c:pt>
                <c:pt idx="78">
                  <c:v>Schick</c:v>
                </c:pt>
                <c:pt idx="79">
                  <c:v>Bic</c:v>
                </c:pt>
                <c:pt idx="80">
                  <c:v>Bic</c:v>
                </c:pt>
                <c:pt idx="81">
                  <c:v>Equate</c:v>
                </c:pt>
                <c:pt idx="82">
                  <c:v>Equate</c:v>
                </c:pt>
                <c:pt idx="83">
                  <c:v>Bic</c:v>
                </c:pt>
                <c:pt idx="84">
                  <c:v>Schick</c:v>
                </c:pt>
                <c:pt idx="85">
                  <c:v>Schick</c:v>
                </c:pt>
                <c:pt idx="86">
                  <c:v>Bic</c:v>
                </c:pt>
                <c:pt idx="87">
                  <c:v>Gillette</c:v>
                </c:pt>
                <c:pt idx="88">
                  <c:v>Gillette</c:v>
                </c:pt>
                <c:pt idx="89">
                  <c:v>Schick</c:v>
                </c:pt>
                <c:pt idx="90">
                  <c:v>Gillette</c:v>
                </c:pt>
                <c:pt idx="91">
                  <c:v>Schick</c:v>
                </c:pt>
                <c:pt idx="92">
                  <c:v>Gillette</c:v>
                </c:pt>
                <c:pt idx="93">
                  <c:v>Schick</c:v>
                </c:pt>
                <c:pt idx="94">
                  <c:v>Equate</c:v>
                </c:pt>
                <c:pt idx="95">
                  <c:v>Barbasol</c:v>
                </c:pt>
                <c:pt idx="96">
                  <c:v>Schick</c:v>
                </c:pt>
                <c:pt idx="97">
                  <c:v>Edgewell Pe</c:v>
                </c:pt>
                <c:pt idx="98">
                  <c:v>Gillette</c:v>
                </c:pt>
                <c:pt idx="99">
                  <c:v>Bic</c:v>
                </c:pt>
                <c:pt idx="100">
                  <c:v>Bic</c:v>
                </c:pt>
                <c:pt idx="101">
                  <c:v>Barbasol</c:v>
                </c:pt>
                <c:pt idx="102">
                  <c:v>Bic</c:v>
                </c:pt>
                <c:pt idx="103">
                  <c:v>Schick</c:v>
                </c:pt>
                <c:pt idx="104">
                  <c:v>Gillette</c:v>
                </c:pt>
                <c:pt idx="105">
                  <c:v>Personna</c:v>
                </c:pt>
                <c:pt idx="106">
                  <c:v>Gillette</c:v>
                </c:pt>
                <c:pt idx="107">
                  <c:v>Gillette</c:v>
                </c:pt>
                <c:pt idx="108">
                  <c:v>Schick</c:v>
                </c:pt>
                <c:pt idx="109">
                  <c:v>Schick</c:v>
                </c:pt>
                <c:pt idx="110">
                  <c:v>Equate</c:v>
                </c:pt>
                <c:pt idx="111">
                  <c:v>Schick</c:v>
                </c:pt>
                <c:pt idx="112">
                  <c:v>Bic</c:v>
                </c:pt>
                <c:pt idx="113">
                  <c:v>Bic</c:v>
                </c:pt>
                <c:pt idx="114">
                  <c:v>Gillette</c:v>
                </c:pt>
                <c:pt idx="115">
                  <c:v>Gillette</c:v>
                </c:pt>
                <c:pt idx="116">
                  <c:v>Gillette</c:v>
                </c:pt>
                <c:pt idx="117">
                  <c:v>Bic</c:v>
                </c:pt>
                <c:pt idx="118">
                  <c:v>Schick</c:v>
                </c:pt>
              </c:strCache>
            </c:strRef>
          </c:cat>
          <c:val>
            <c:numRef>
              <c:f>Sheet1!$C$2:$C$120</c:f>
              <c:numCache>
                <c:formatCode>General</c:formatCode>
                <c:ptCount val="119"/>
                <c:pt idx="0">
                  <c:v>6.706344494347008E-2</c:v>
                </c:pt>
                <c:pt idx="1">
                  <c:v>0.12204378581667386</c:v>
                </c:pt>
                <c:pt idx="2">
                  <c:v>0.17611620993744068</c:v>
                </c:pt>
                <c:pt idx="3">
                  <c:v>0.22117284733140821</c:v>
                </c:pt>
                <c:pt idx="4">
                  <c:v>0.26365573785436502</c:v>
                </c:pt>
                <c:pt idx="5">
                  <c:v>0.30105600954801648</c:v>
                </c:pt>
                <c:pt idx="6">
                  <c:v>0.3364505724081438</c:v>
                </c:pt>
                <c:pt idx="7">
                  <c:v>0.37166420297665409</c:v>
                </c:pt>
                <c:pt idx="8">
                  <c:v>0.40660910213936424</c:v>
                </c:pt>
                <c:pt idx="9">
                  <c:v>0.43855633715261161</c:v>
                </c:pt>
                <c:pt idx="10">
                  <c:v>0.46878040988977476</c:v>
                </c:pt>
                <c:pt idx="11">
                  <c:v>0.49570148485957183</c:v>
                </c:pt>
                <c:pt idx="12">
                  <c:v>0.52078206259766469</c:v>
                </c:pt>
                <c:pt idx="13">
                  <c:v>0.54585844670822214</c:v>
                </c:pt>
                <c:pt idx="14">
                  <c:v>0.57062181730466688</c:v>
                </c:pt>
                <c:pt idx="15">
                  <c:v>0.59405974897176539</c:v>
                </c:pt>
                <c:pt idx="16">
                  <c:v>0.61697471868392206</c:v>
                </c:pt>
                <c:pt idx="17">
                  <c:v>0.63979594169310183</c:v>
                </c:pt>
                <c:pt idx="18">
                  <c:v>0.66248882237662476</c:v>
                </c:pt>
                <c:pt idx="19">
                  <c:v>0.68510740150791138</c:v>
                </c:pt>
                <c:pt idx="20">
                  <c:v>0.70763582125616109</c:v>
                </c:pt>
                <c:pt idx="21">
                  <c:v>0.73006990964768115</c:v>
                </c:pt>
                <c:pt idx="22">
                  <c:v>0.75101599649479134</c:v>
                </c:pt>
                <c:pt idx="23">
                  <c:v>0.77177133464159586</c:v>
                </c:pt>
                <c:pt idx="24">
                  <c:v>0.7920523237103102</c:v>
                </c:pt>
                <c:pt idx="25">
                  <c:v>0.8122716137632372</c:v>
                </c:pt>
                <c:pt idx="26">
                  <c:v>0.83221249314267909</c:v>
                </c:pt>
                <c:pt idx="27">
                  <c:v>0.85120037968713935</c:v>
                </c:pt>
                <c:pt idx="28">
                  <c:v>0.86770099037241999</c:v>
                </c:pt>
                <c:pt idx="29">
                  <c:v>0.8831374951379003</c:v>
                </c:pt>
                <c:pt idx="30">
                  <c:v>0.89741821161360691</c:v>
                </c:pt>
                <c:pt idx="31">
                  <c:v>0.90948615077603878</c:v>
                </c:pt>
                <c:pt idx="32">
                  <c:v>0.92016771709577894</c:v>
                </c:pt>
                <c:pt idx="33">
                  <c:v>0.93074746704716427</c:v>
                </c:pt>
                <c:pt idx="34">
                  <c:v>0.93998190705955631</c:v>
                </c:pt>
                <c:pt idx="35">
                  <c:v>0.94814353630738435</c:v>
                </c:pt>
                <c:pt idx="36">
                  <c:v>0.95404718223633667</c:v>
                </c:pt>
                <c:pt idx="37">
                  <c:v>0.95919445943993109</c:v>
                </c:pt>
                <c:pt idx="38">
                  <c:v>0.96432901861991571</c:v>
                </c:pt>
                <c:pt idx="39">
                  <c:v>0.96872008589299874</c:v>
                </c:pt>
                <c:pt idx="40">
                  <c:v>0.97236255817025163</c:v>
                </c:pt>
                <c:pt idx="41">
                  <c:v>0.97593201368993487</c:v>
                </c:pt>
                <c:pt idx="42">
                  <c:v>0.9792812929370891</c:v>
                </c:pt>
                <c:pt idx="43">
                  <c:v>0.98259285119026751</c:v>
                </c:pt>
                <c:pt idx="44">
                  <c:v>0.98564991183024442</c:v>
                </c:pt>
                <c:pt idx="45">
                  <c:v>0.98857860849072166</c:v>
                </c:pt>
                <c:pt idx="46">
                  <c:v>0.99143132181717997</c:v>
                </c:pt>
                <c:pt idx="47">
                  <c:v>0.99389722533361891</c:v>
                </c:pt>
                <c:pt idx="48">
                  <c:v>0.99636074692736132</c:v>
                </c:pt>
                <c:pt idx="49">
                  <c:v>0.99816340045998109</c:v>
                </c:pt>
                <c:pt idx="50">
                  <c:v>0.99973720174709846</c:v>
                </c:pt>
                <c:pt idx="51">
                  <c:v>0.99992193067913471</c:v>
                </c:pt>
                <c:pt idx="52">
                  <c:v>0.99994613245732089</c:v>
                </c:pt>
                <c:pt idx="53">
                  <c:v>0.99996188201890812</c:v>
                </c:pt>
                <c:pt idx="54">
                  <c:v>0.99996753367185165</c:v>
                </c:pt>
                <c:pt idx="55">
                  <c:v>0.99997223255571654</c:v>
                </c:pt>
                <c:pt idx="56">
                  <c:v>0.999976657157574</c:v>
                </c:pt>
                <c:pt idx="57">
                  <c:v>0.99997925561869749</c:v>
                </c:pt>
                <c:pt idx="58">
                  <c:v>0.99998170972086964</c:v>
                </c:pt>
                <c:pt idx="59">
                  <c:v>0.99998360804107933</c:v>
                </c:pt>
                <c:pt idx="60">
                  <c:v>0.99998494336137889</c:v>
                </c:pt>
                <c:pt idx="61">
                  <c:v>0.99998611266888449</c:v>
                </c:pt>
                <c:pt idx="62">
                  <c:v>0.99998723145075707</c:v>
                </c:pt>
                <c:pt idx="63">
                  <c:v>0.99998830692494434</c:v>
                </c:pt>
                <c:pt idx="64">
                  <c:v>0.99998935352734131</c:v>
                </c:pt>
                <c:pt idx="65">
                  <c:v>0.99999037125794799</c:v>
                </c:pt>
                <c:pt idx="66">
                  <c:v>0.99999125184755089</c:v>
                </c:pt>
                <c:pt idx="67">
                  <c:v>0.99999211800125876</c:v>
                </c:pt>
                <c:pt idx="68">
                  <c:v>0.99999275318064451</c:v>
                </c:pt>
                <c:pt idx="69">
                  <c:v>0.9999932223472362</c:v>
                </c:pt>
                <c:pt idx="70">
                  <c:v>0.99999367707793285</c:v>
                </c:pt>
                <c:pt idx="71">
                  <c:v>0.99999411015478679</c:v>
                </c:pt>
                <c:pt idx="72">
                  <c:v>0.99999453601369315</c:v>
                </c:pt>
                <c:pt idx="73">
                  <c:v>0.99999494743670436</c:v>
                </c:pt>
                <c:pt idx="74">
                  <c:v>0.99999532998792529</c:v>
                </c:pt>
                <c:pt idx="75">
                  <c:v>0.9999956114878803</c:v>
                </c:pt>
                <c:pt idx="76">
                  <c:v>0.99999589298783531</c:v>
                </c:pt>
                <c:pt idx="77">
                  <c:v>0.999996131180105</c:v>
                </c:pt>
                <c:pt idx="78">
                  <c:v>0.99999635493647954</c:v>
                </c:pt>
                <c:pt idx="79">
                  <c:v>0.9999965714749065</c:v>
                </c:pt>
                <c:pt idx="80">
                  <c:v>0.99999677357743832</c:v>
                </c:pt>
                <c:pt idx="81">
                  <c:v>0.99999696846202257</c:v>
                </c:pt>
                <c:pt idx="82">
                  <c:v>0.99999715612865925</c:v>
                </c:pt>
                <c:pt idx="83">
                  <c:v>0.99999734379529592</c:v>
                </c:pt>
                <c:pt idx="84">
                  <c:v>0.99999752424398503</c:v>
                </c:pt>
                <c:pt idx="85">
                  <c:v>0.99999770469267413</c:v>
                </c:pt>
                <c:pt idx="86">
                  <c:v>0.99999785626957305</c:v>
                </c:pt>
                <c:pt idx="87">
                  <c:v>0.9999980006285244</c:v>
                </c:pt>
                <c:pt idx="88">
                  <c:v>0.99999814498747575</c:v>
                </c:pt>
                <c:pt idx="89">
                  <c:v>0.99999826769258437</c:v>
                </c:pt>
                <c:pt idx="90">
                  <c:v>0.99999838317974543</c:v>
                </c:pt>
                <c:pt idx="91">
                  <c:v>0.99999849144895891</c:v>
                </c:pt>
                <c:pt idx="92">
                  <c:v>0.99999859250022483</c:v>
                </c:pt>
                <c:pt idx="93">
                  <c:v>0.99999869355149074</c:v>
                </c:pt>
                <c:pt idx="94">
                  <c:v>0.99999878738480907</c:v>
                </c:pt>
                <c:pt idx="95">
                  <c:v>0.99999888121812741</c:v>
                </c:pt>
                <c:pt idx="96">
                  <c:v>0.9999989606155506</c:v>
                </c:pt>
                <c:pt idx="97">
                  <c:v>0.99999904001297379</c:v>
                </c:pt>
                <c:pt idx="98">
                  <c:v>0.99999911941039699</c:v>
                </c:pt>
                <c:pt idx="99">
                  <c:v>0.9999991915898726</c:v>
                </c:pt>
                <c:pt idx="100">
                  <c:v>0.99999926376934822</c:v>
                </c:pt>
                <c:pt idx="101">
                  <c:v>0.99999932873087627</c:v>
                </c:pt>
                <c:pt idx="102">
                  <c:v>0.99999939369240431</c:v>
                </c:pt>
                <c:pt idx="103">
                  <c:v>0.99999945865393236</c:v>
                </c:pt>
                <c:pt idx="104">
                  <c:v>0.99999951639751283</c:v>
                </c:pt>
                <c:pt idx="105">
                  <c:v>0.99999956692314584</c:v>
                </c:pt>
                <c:pt idx="106">
                  <c:v>0.99999961744877885</c:v>
                </c:pt>
                <c:pt idx="107">
                  <c:v>0.99999966797441187</c:v>
                </c:pt>
                <c:pt idx="108">
                  <c:v>0.99999971850004488</c:v>
                </c:pt>
                <c:pt idx="109">
                  <c:v>0.99999976902567789</c:v>
                </c:pt>
                <c:pt idx="110">
                  <c:v>0.9999998195513109</c:v>
                </c:pt>
                <c:pt idx="111">
                  <c:v>0.99999985564104876</c:v>
                </c:pt>
                <c:pt idx="112">
                  <c:v>0.99999989173078663</c:v>
                </c:pt>
                <c:pt idx="113">
                  <c:v>0.99999992060257692</c:v>
                </c:pt>
                <c:pt idx="114">
                  <c:v>0.99999994225641964</c:v>
                </c:pt>
                <c:pt idx="115">
                  <c:v>0.99999995669231478</c:v>
                </c:pt>
                <c:pt idx="116">
                  <c:v>0.99999997112820993</c:v>
                </c:pt>
                <c:pt idx="117">
                  <c:v>0.99999998556410508</c:v>
                </c:pt>
                <c:pt idx="11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21</c:f>
              <c:strCache>
                <c:ptCount val="220"/>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Schick</c:v>
                </c:pt>
                <c:pt idx="19">
                  <c:v>Gillette</c:v>
                </c:pt>
                <c:pt idx="20">
                  <c:v>Gillette</c:v>
                </c:pt>
                <c:pt idx="21">
                  <c:v>Bic</c:v>
                </c:pt>
                <c:pt idx="22">
                  <c:v>Dollar Shav</c:v>
                </c:pt>
                <c:pt idx="23">
                  <c:v>Equate</c:v>
                </c:pt>
                <c:pt idx="24">
                  <c:v>Dollar Shav</c:v>
                </c:pt>
                <c:pt idx="25">
                  <c:v>Gillette</c:v>
                </c:pt>
                <c:pt idx="26">
                  <c:v>Gillette</c:v>
                </c:pt>
                <c:pt idx="27">
                  <c:v>Schick</c:v>
                </c:pt>
                <c:pt idx="28">
                  <c:v>Harry's</c:v>
                </c:pt>
                <c:pt idx="29">
                  <c:v>Gillette</c:v>
                </c:pt>
                <c:pt idx="30">
                  <c:v>Bic</c:v>
                </c:pt>
                <c:pt idx="31">
                  <c:v>Gillette</c:v>
                </c:pt>
                <c:pt idx="32">
                  <c:v>Schick</c:v>
                </c:pt>
                <c:pt idx="33">
                  <c:v>Bic</c:v>
                </c:pt>
                <c:pt idx="34">
                  <c:v>Van Der Hag</c:v>
                </c:pt>
                <c:pt idx="35">
                  <c:v>Dollar Shav</c:v>
                </c:pt>
                <c:pt idx="36">
                  <c:v>Comfort 3</c:v>
                </c:pt>
                <c:pt idx="37">
                  <c:v>Gillette</c:v>
                </c:pt>
                <c:pt idx="38">
                  <c:v>Van Der Hag</c:v>
                </c:pt>
                <c:pt idx="39">
                  <c:v>Gillette</c:v>
                </c:pt>
                <c:pt idx="40">
                  <c:v>Equate</c:v>
                </c:pt>
                <c:pt idx="41">
                  <c:v>Comfort 3</c:v>
                </c:pt>
                <c:pt idx="42">
                  <c:v>Gillette</c:v>
                </c:pt>
                <c:pt idx="43">
                  <c:v>Equate</c:v>
                </c:pt>
                <c:pt idx="44">
                  <c:v>Harry's</c:v>
                </c:pt>
                <c:pt idx="45">
                  <c:v>Gillette</c:v>
                </c:pt>
                <c:pt idx="46">
                  <c:v>Gillette</c:v>
                </c:pt>
                <c:pt idx="47">
                  <c:v>Gillette</c:v>
                </c:pt>
                <c:pt idx="48">
                  <c:v>Bic</c:v>
                </c:pt>
                <c:pt idx="49">
                  <c:v>Gillette</c:v>
                </c:pt>
                <c:pt idx="50">
                  <c:v>Gillette</c:v>
                </c:pt>
                <c:pt idx="51">
                  <c:v>Schick</c:v>
                </c:pt>
                <c:pt idx="52">
                  <c:v>Gillette</c:v>
                </c:pt>
                <c:pt idx="53">
                  <c:v>Harry's</c:v>
                </c:pt>
                <c:pt idx="54">
                  <c:v>Gillette</c:v>
                </c:pt>
                <c:pt idx="55">
                  <c:v>Gillette</c:v>
                </c:pt>
                <c:pt idx="56">
                  <c:v>Bic</c:v>
                </c:pt>
                <c:pt idx="57">
                  <c:v>Bic</c:v>
                </c:pt>
                <c:pt idx="58">
                  <c:v>Gillette</c:v>
                </c:pt>
                <c:pt idx="59">
                  <c:v>Gillette</c:v>
                </c:pt>
                <c:pt idx="60">
                  <c:v>Harry's</c:v>
                </c:pt>
                <c:pt idx="61">
                  <c:v>Gillette</c:v>
                </c:pt>
                <c:pt idx="62">
                  <c:v>Gillette</c:v>
                </c:pt>
                <c:pt idx="63">
                  <c:v>Equate</c:v>
                </c:pt>
                <c:pt idx="64">
                  <c:v>Gillette</c:v>
                </c:pt>
                <c:pt idx="65">
                  <c:v>Gillette</c:v>
                </c:pt>
                <c:pt idx="66">
                  <c:v>Dollar Shav</c:v>
                </c:pt>
                <c:pt idx="67">
                  <c:v>Gillette</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Gillette</c:v>
                </c:pt>
                <c:pt idx="83">
                  <c:v>Harry's</c:v>
                </c:pt>
                <c:pt idx="84">
                  <c:v>Dollar Shav</c:v>
                </c:pt>
                <c:pt idx="85">
                  <c:v>Harry's</c:v>
                </c:pt>
                <c:pt idx="86">
                  <c:v>Gillette</c:v>
                </c:pt>
                <c:pt idx="87">
                  <c:v>Gillette</c:v>
                </c:pt>
                <c:pt idx="88">
                  <c:v>Dollar Shav</c:v>
                </c:pt>
                <c:pt idx="89">
                  <c:v>Gillette</c:v>
                </c:pt>
                <c:pt idx="90">
                  <c:v>Gillette</c:v>
                </c:pt>
                <c:pt idx="91">
                  <c:v>Schick</c:v>
                </c:pt>
                <c:pt idx="92">
                  <c:v>All Others</c:v>
                </c:pt>
                <c:pt idx="93">
                  <c:v>Dollar Shav</c:v>
                </c:pt>
                <c:pt idx="94">
                  <c:v>Schick</c:v>
                </c:pt>
                <c:pt idx="95">
                  <c:v>Harry's</c:v>
                </c:pt>
                <c:pt idx="96">
                  <c:v>Gillette</c:v>
                </c:pt>
                <c:pt idx="97">
                  <c:v>All Others</c:v>
                </c:pt>
                <c:pt idx="98">
                  <c:v>Schick</c:v>
                </c:pt>
                <c:pt idx="99">
                  <c:v>Dollar Shav</c:v>
                </c:pt>
                <c:pt idx="100">
                  <c:v>Equate</c:v>
                </c:pt>
                <c:pt idx="101">
                  <c:v>Van Der Hag</c:v>
                </c:pt>
                <c:pt idx="102">
                  <c:v>Gillette</c:v>
                </c:pt>
                <c:pt idx="103">
                  <c:v>Gillette</c:v>
                </c:pt>
                <c:pt idx="104">
                  <c:v>Gillette</c:v>
                </c:pt>
                <c:pt idx="105">
                  <c:v>Schick</c:v>
                </c:pt>
                <c:pt idx="106">
                  <c:v>Harry's</c:v>
                </c:pt>
                <c:pt idx="107">
                  <c:v>Comfort 3</c:v>
                </c:pt>
                <c:pt idx="108">
                  <c:v>Gillette</c:v>
                </c:pt>
                <c:pt idx="109">
                  <c:v>Equate</c:v>
                </c:pt>
                <c:pt idx="110">
                  <c:v>Gillette</c:v>
                </c:pt>
                <c:pt idx="111">
                  <c:v>Schick</c:v>
                </c:pt>
                <c:pt idx="112">
                  <c:v>Gillette</c:v>
                </c:pt>
                <c:pt idx="113">
                  <c:v>Dollar Shav</c:v>
                </c:pt>
                <c:pt idx="114">
                  <c:v>Gillette</c:v>
                </c:pt>
                <c:pt idx="115">
                  <c:v>Gillette</c:v>
                </c:pt>
                <c:pt idx="116">
                  <c:v>Gillette</c:v>
                </c:pt>
                <c:pt idx="117">
                  <c:v>Cremo</c:v>
                </c:pt>
                <c:pt idx="118">
                  <c:v>Gillette</c:v>
                </c:pt>
                <c:pt idx="119">
                  <c:v>Bic</c:v>
                </c:pt>
                <c:pt idx="120">
                  <c:v>Cremo</c:v>
                </c:pt>
                <c:pt idx="121">
                  <c:v>Schick</c:v>
                </c:pt>
                <c:pt idx="122">
                  <c:v>Gillette</c:v>
                </c:pt>
                <c:pt idx="123">
                  <c:v>Gillette</c:v>
                </c:pt>
                <c:pt idx="124">
                  <c:v>Gillette</c:v>
                </c:pt>
                <c:pt idx="125">
                  <c:v>Harry's</c:v>
                </c:pt>
                <c:pt idx="126">
                  <c:v>Schick</c:v>
                </c:pt>
                <c:pt idx="127">
                  <c:v>Schick</c:v>
                </c:pt>
                <c:pt idx="128">
                  <c:v>Schick</c:v>
                </c:pt>
                <c:pt idx="129">
                  <c:v>Gillette</c:v>
                </c:pt>
                <c:pt idx="130">
                  <c:v>Dollar Shav</c:v>
                </c:pt>
                <c:pt idx="131">
                  <c:v>Unilever: A</c:v>
                </c:pt>
                <c:pt idx="132">
                  <c:v>Schick</c:v>
                </c:pt>
                <c:pt idx="133">
                  <c:v>Schick</c:v>
                </c:pt>
                <c:pt idx="134">
                  <c:v>Gillette</c:v>
                </c:pt>
                <c:pt idx="135">
                  <c:v>Bic</c:v>
                </c:pt>
                <c:pt idx="136">
                  <c:v>Van Der Hag</c:v>
                </c:pt>
                <c:pt idx="137">
                  <c:v>Schick</c:v>
                </c:pt>
                <c:pt idx="138">
                  <c:v>Schick</c:v>
                </c:pt>
                <c:pt idx="139">
                  <c:v>Equate</c:v>
                </c:pt>
                <c:pt idx="140">
                  <c:v>Bic</c:v>
                </c:pt>
                <c:pt idx="141">
                  <c:v>Gillette</c:v>
                </c:pt>
                <c:pt idx="142">
                  <c:v>Schick</c:v>
                </c:pt>
                <c:pt idx="143">
                  <c:v>Dollar Shav</c:v>
                </c:pt>
                <c:pt idx="144">
                  <c:v>Schick</c:v>
                </c:pt>
                <c:pt idx="145">
                  <c:v>Schick</c:v>
                </c:pt>
                <c:pt idx="146">
                  <c:v>Gillette</c:v>
                </c:pt>
                <c:pt idx="147">
                  <c:v>Gillette</c:v>
                </c:pt>
                <c:pt idx="148">
                  <c:v>Edgewell Pe</c:v>
                </c:pt>
                <c:pt idx="149">
                  <c:v>Gillette</c:v>
                </c:pt>
                <c:pt idx="150">
                  <c:v>Gillette</c:v>
                </c:pt>
                <c:pt idx="151">
                  <c:v>Gillette</c:v>
                </c:pt>
                <c:pt idx="152">
                  <c:v>Van Der Hag</c:v>
                </c:pt>
                <c:pt idx="153">
                  <c:v>Bic</c:v>
                </c:pt>
                <c:pt idx="154">
                  <c:v>Gillette</c:v>
                </c:pt>
                <c:pt idx="155">
                  <c:v>Schick</c:v>
                </c:pt>
                <c:pt idx="156">
                  <c:v>Gillette</c:v>
                </c:pt>
                <c:pt idx="157">
                  <c:v>Gillette</c:v>
                </c:pt>
                <c:pt idx="158">
                  <c:v>Schick</c:v>
                </c:pt>
                <c:pt idx="159">
                  <c:v>Equate</c:v>
                </c:pt>
                <c:pt idx="160">
                  <c:v>Gillette</c:v>
                </c:pt>
                <c:pt idx="161">
                  <c:v>Gillette</c:v>
                </c:pt>
                <c:pt idx="162">
                  <c:v>Dollar Shav</c:v>
                </c:pt>
                <c:pt idx="163">
                  <c:v>Gillette</c:v>
                </c:pt>
                <c:pt idx="164">
                  <c:v>Gillette</c:v>
                </c:pt>
                <c:pt idx="165">
                  <c:v>Gillette</c:v>
                </c:pt>
                <c:pt idx="166">
                  <c:v>Gillette</c:v>
                </c:pt>
                <c:pt idx="167">
                  <c:v>Equate</c:v>
                </c:pt>
                <c:pt idx="168">
                  <c:v>Gillette</c:v>
                </c:pt>
                <c:pt idx="169">
                  <c:v>Gillette</c:v>
                </c:pt>
                <c:pt idx="170">
                  <c:v>Bic</c:v>
                </c:pt>
                <c:pt idx="171">
                  <c:v>Gillette</c:v>
                </c:pt>
                <c:pt idx="172">
                  <c:v>Schick</c:v>
                </c:pt>
                <c:pt idx="173">
                  <c:v>Gillette</c:v>
                </c:pt>
                <c:pt idx="174">
                  <c:v>Equate</c:v>
                </c:pt>
                <c:pt idx="175">
                  <c:v>Schick</c:v>
                </c:pt>
                <c:pt idx="176">
                  <c:v>Edgewell Pe</c:v>
                </c:pt>
                <c:pt idx="177">
                  <c:v>Schick</c:v>
                </c:pt>
                <c:pt idx="178">
                  <c:v>Schick</c:v>
                </c:pt>
                <c:pt idx="179">
                  <c:v>All Others</c:v>
                </c:pt>
                <c:pt idx="180">
                  <c:v>Gillette</c:v>
                </c:pt>
                <c:pt idx="181">
                  <c:v>Gillette</c:v>
                </c:pt>
                <c:pt idx="182">
                  <c:v>Equate</c:v>
                </c:pt>
                <c:pt idx="183">
                  <c:v>Schick</c:v>
                </c:pt>
                <c:pt idx="184">
                  <c:v>Harry's</c:v>
                </c:pt>
                <c:pt idx="185">
                  <c:v>Schick</c:v>
                </c:pt>
                <c:pt idx="186">
                  <c:v>Schick</c:v>
                </c:pt>
                <c:pt idx="187">
                  <c:v>Equate</c:v>
                </c:pt>
                <c:pt idx="188">
                  <c:v>Schick</c:v>
                </c:pt>
                <c:pt idx="189">
                  <c:v>Gillette</c:v>
                </c:pt>
                <c:pt idx="190">
                  <c:v>Gillette</c:v>
                </c:pt>
                <c:pt idx="191">
                  <c:v>Equate</c:v>
                </c:pt>
                <c:pt idx="192">
                  <c:v>Schick</c:v>
                </c:pt>
                <c:pt idx="193">
                  <c:v>Schick</c:v>
                </c:pt>
                <c:pt idx="194">
                  <c:v>Gillette</c:v>
                </c:pt>
                <c:pt idx="195">
                  <c:v>Edgewell Pe</c:v>
                </c:pt>
                <c:pt idx="196">
                  <c:v>Gillette</c:v>
                </c:pt>
                <c:pt idx="197">
                  <c:v>Gillette</c:v>
                </c:pt>
                <c:pt idx="198">
                  <c:v>Equate</c:v>
                </c:pt>
                <c:pt idx="199">
                  <c:v>Dollar Shav</c:v>
                </c:pt>
                <c:pt idx="200">
                  <c:v>Dollar Shav</c:v>
                </c:pt>
                <c:pt idx="201">
                  <c:v>Gillette</c:v>
                </c:pt>
                <c:pt idx="202">
                  <c:v>Personna</c:v>
                </c:pt>
                <c:pt idx="203">
                  <c:v>Unilever: A</c:v>
                </c:pt>
                <c:pt idx="204">
                  <c:v>Dollar Shav</c:v>
                </c:pt>
                <c:pt idx="205">
                  <c:v>Schick</c:v>
                </c:pt>
                <c:pt idx="206">
                  <c:v>Equate</c:v>
                </c:pt>
                <c:pt idx="207">
                  <c:v>Schick</c:v>
                </c:pt>
                <c:pt idx="208">
                  <c:v>Gillette</c:v>
                </c:pt>
                <c:pt idx="209">
                  <c:v>Gillette</c:v>
                </c:pt>
                <c:pt idx="210">
                  <c:v>Gillette</c:v>
                </c:pt>
                <c:pt idx="211">
                  <c:v>Gillette</c:v>
                </c:pt>
                <c:pt idx="212">
                  <c:v>Procter &amp; G</c:v>
                </c:pt>
                <c:pt idx="213">
                  <c:v>Schick</c:v>
                </c:pt>
                <c:pt idx="214">
                  <c:v>Gillette</c:v>
                </c:pt>
                <c:pt idx="215">
                  <c:v>All Others</c:v>
                </c:pt>
                <c:pt idx="216">
                  <c:v>Gillette</c:v>
                </c:pt>
                <c:pt idx="217">
                  <c:v>Gillette</c:v>
                </c:pt>
                <c:pt idx="218">
                  <c:v>Private Lab</c:v>
                </c:pt>
                <c:pt idx="219">
                  <c:v>Schick</c:v>
                </c:pt>
              </c:strCache>
            </c:strRef>
          </c:cat>
          <c:val>
            <c:numRef>
              <c:f>Sheet1!$B$2:$B$221</c:f>
              <c:numCache>
                <c:formatCode>General</c:formatCode>
                <c:ptCount val="220"/>
                <c:pt idx="0">
                  <c:v>0.98599999999999999</c:v>
                </c:pt>
                <c:pt idx="1">
                  <c:v>0.98799999999999999</c:v>
                </c:pt>
                <c:pt idx="2">
                  <c:v>0.98499999999999999</c:v>
                </c:pt>
                <c:pt idx="3">
                  <c:v>0.92900000000000005</c:v>
                </c:pt>
                <c:pt idx="4">
                  <c:v>0.92100000000000004</c:v>
                </c:pt>
                <c:pt idx="5">
                  <c:v>0.86099999999999999</c:v>
                </c:pt>
                <c:pt idx="6">
                  <c:v>0.61899999999999999</c:v>
                </c:pt>
                <c:pt idx="7">
                  <c:v>0.94899999999999995</c:v>
                </c:pt>
                <c:pt idx="8">
                  <c:v>0.82599999999999996</c:v>
                </c:pt>
                <c:pt idx="9">
                  <c:v>0.83799999999999997</c:v>
                </c:pt>
                <c:pt idx="10">
                  <c:v>0.78200000000000003</c:v>
                </c:pt>
                <c:pt idx="11">
                  <c:v>0.84899999999999998</c:v>
                </c:pt>
                <c:pt idx="12">
                  <c:v>0.89700000000000002</c:v>
                </c:pt>
                <c:pt idx="13">
                  <c:v>0.92100000000000004</c:v>
                </c:pt>
                <c:pt idx="14">
                  <c:v>0.626</c:v>
                </c:pt>
                <c:pt idx="15">
                  <c:v>0.73499999999999999</c:v>
                </c:pt>
                <c:pt idx="16">
                  <c:v>0.65300000000000002</c:v>
                </c:pt>
                <c:pt idx="17">
                  <c:v>0.94699999999999995</c:v>
                </c:pt>
                <c:pt idx="18">
                  <c:v>0.78500000000000003</c:v>
                </c:pt>
                <c:pt idx="19">
                  <c:v>0.63200000000000001</c:v>
                </c:pt>
                <c:pt idx="20">
                  <c:v>0.73799999999999999</c:v>
                </c:pt>
                <c:pt idx="21">
                  <c:v>0.81799999999999995</c:v>
                </c:pt>
                <c:pt idx="22">
                  <c:v>0.86</c:v>
                </c:pt>
                <c:pt idx="23">
                  <c:v>0.84499999999999997</c:v>
                </c:pt>
                <c:pt idx="24">
                  <c:v>0.89100000000000001</c:v>
                </c:pt>
                <c:pt idx="25">
                  <c:v>0.60599999999999998</c:v>
                </c:pt>
                <c:pt idx="26">
                  <c:v>0.43099999999999999</c:v>
                </c:pt>
                <c:pt idx="27">
                  <c:v>0.85199999999999998</c:v>
                </c:pt>
                <c:pt idx="28">
                  <c:v>0.83399999999999996</c:v>
                </c:pt>
                <c:pt idx="29">
                  <c:v>0.54700000000000004</c:v>
                </c:pt>
                <c:pt idx="30">
                  <c:v>0.59899999999999998</c:v>
                </c:pt>
                <c:pt idx="31">
                  <c:v>0.66600000000000004</c:v>
                </c:pt>
                <c:pt idx="32">
                  <c:v>0.44900000000000001</c:v>
                </c:pt>
                <c:pt idx="33">
                  <c:v>0.89600000000000002</c:v>
                </c:pt>
                <c:pt idx="34">
                  <c:v>0.60699999999999998</c:v>
                </c:pt>
                <c:pt idx="35">
                  <c:v>0.56200000000000006</c:v>
                </c:pt>
                <c:pt idx="36">
                  <c:v>0.875</c:v>
                </c:pt>
                <c:pt idx="37">
                  <c:v>0.61299999999999999</c:v>
                </c:pt>
                <c:pt idx="38">
                  <c:v>0.873</c:v>
                </c:pt>
                <c:pt idx="39">
                  <c:v>0.54500000000000004</c:v>
                </c:pt>
                <c:pt idx="40">
                  <c:v>0.751</c:v>
                </c:pt>
                <c:pt idx="41">
                  <c:v>0.621</c:v>
                </c:pt>
                <c:pt idx="42">
                  <c:v>0.65100000000000002</c:v>
                </c:pt>
                <c:pt idx="43">
                  <c:v>0.58399999999999996</c:v>
                </c:pt>
                <c:pt idx="44">
                  <c:v>0.52700000000000002</c:v>
                </c:pt>
                <c:pt idx="45">
                  <c:v>0.32700000000000001</c:v>
                </c:pt>
                <c:pt idx="46">
                  <c:v>0.77700000000000002</c:v>
                </c:pt>
                <c:pt idx="47">
                  <c:v>0.433</c:v>
                </c:pt>
                <c:pt idx="48">
                  <c:v>0.65400000000000003</c:v>
                </c:pt>
                <c:pt idx="49">
                  <c:v>0.38600000000000001</c:v>
                </c:pt>
                <c:pt idx="50">
                  <c:v>0.46600000000000003</c:v>
                </c:pt>
                <c:pt idx="51">
                  <c:v>0.79400000000000004</c:v>
                </c:pt>
                <c:pt idx="52">
                  <c:v>0.19800000000000001</c:v>
                </c:pt>
                <c:pt idx="53">
                  <c:v>0.23699999999999999</c:v>
                </c:pt>
                <c:pt idx="54">
                  <c:v>0.57299999999999995</c:v>
                </c:pt>
                <c:pt idx="55">
                  <c:v>0.433</c:v>
                </c:pt>
                <c:pt idx="56">
                  <c:v>0.80200000000000005</c:v>
                </c:pt>
                <c:pt idx="57">
                  <c:v>0.52400000000000002</c:v>
                </c:pt>
                <c:pt idx="58">
                  <c:v>0.28699999999999998</c:v>
                </c:pt>
                <c:pt idx="59">
                  <c:v>0.16900000000000001</c:v>
                </c:pt>
                <c:pt idx="60">
                  <c:v>0.7</c:v>
                </c:pt>
                <c:pt idx="61">
                  <c:v>0.73399999999999999</c:v>
                </c:pt>
                <c:pt idx="62">
                  <c:v>0.61199999999999999</c:v>
                </c:pt>
                <c:pt idx="63">
                  <c:v>0.68899999999999995</c:v>
                </c:pt>
                <c:pt idx="64">
                  <c:v>0.35</c:v>
                </c:pt>
                <c:pt idx="65">
                  <c:v>0.42899999999999999</c:v>
                </c:pt>
                <c:pt idx="66">
                  <c:v>0.63</c:v>
                </c:pt>
                <c:pt idx="67">
                  <c:v>0.30099999999999999</c:v>
                </c:pt>
                <c:pt idx="68">
                  <c:v>0.7</c:v>
                </c:pt>
                <c:pt idx="69">
                  <c:v>0.32300000000000001</c:v>
                </c:pt>
                <c:pt idx="70">
                  <c:v>0.38600000000000001</c:v>
                </c:pt>
                <c:pt idx="71">
                  <c:v>0.16800000000000001</c:v>
                </c:pt>
                <c:pt idx="72">
                  <c:v>0.17499999999999999</c:v>
                </c:pt>
                <c:pt idx="73">
                  <c:v>5.6000000000000001E-2</c:v>
                </c:pt>
                <c:pt idx="74">
                  <c:v>4.7E-2</c:v>
                </c:pt>
                <c:pt idx="75">
                  <c:v>0.11700000000000001</c:v>
                </c:pt>
                <c:pt idx="76">
                  <c:v>6.4000000000000001E-2</c:v>
                </c:pt>
                <c:pt idx="77">
                  <c:v>3.5999999999999997E-2</c:v>
                </c:pt>
                <c:pt idx="78">
                  <c:v>1.7999999999999999E-2</c:v>
                </c:pt>
                <c:pt idx="79">
                  <c:v>8.9999999999999993E-3</c:v>
                </c:pt>
                <c:pt idx="80">
                  <c:v>8.9999999999999993E-3</c:v>
                </c:pt>
                <c:pt idx="81">
                  <c:v>0.01</c:v>
                </c:pt>
                <c:pt idx="82">
                  <c:v>0.01</c:v>
                </c:pt>
                <c:pt idx="83">
                  <c:v>0.01</c:v>
                </c:pt>
                <c:pt idx="84">
                  <c:v>0.01</c:v>
                </c:pt>
                <c:pt idx="85">
                  <c:v>8.9999999999999993E-3</c:v>
                </c:pt>
                <c:pt idx="86">
                  <c:v>8.9999999999999993E-3</c:v>
                </c:pt>
                <c:pt idx="87">
                  <c:v>8.9999999999999993E-3</c:v>
                </c:pt>
                <c:pt idx="88">
                  <c:v>0.01</c:v>
                </c:pt>
                <c:pt idx="89">
                  <c:v>0.01</c:v>
                </c:pt>
                <c:pt idx="90">
                  <c:v>0.01</c:v>
                </c:pt>
                <c:pt idx="91">
                  <c:v>0.01</c:v>
                </c:pt>
                <c:pt idx="92">
                  <c:v>8.9999999999999993E-3</c:v>
                </c:pt>
                <c:pt idx="93">
                  <c:v>0.01</c:v>
                </c:pt>
                <c:pt idx="94">
                  <c:v>8.9999999999999993E-3</c:v>
                </c:pt>
                <c:pt idx="95">
                  <c:v>8.9999999999999993E-3</c:v>
                </c:pt>
                <c:pt idx="96">
                  <c:v>8.9999999999999993E-3</c:v>
                </c:pt>
                <c:pt idx="97">
                  <c:v>0.01</c:v>
                </c:pt>
                <c:pt idx="98">
                  <c:v>8.9999999999999993E-3</c:v>
                </c:pt>
                <c:pt idx="99">
                  <c:v>0.01</c:v>
                </c:pt>
                <c:pt idx="100">
                  <c:v>0.01</c:v>
                </c:pt>
                <c:pt idx="101">
                  <c:v>0.01</c:v>
                </c:pt>
                <c:pt idx="102">
                  <c:v>8.9999999999999993E-3</c:v>
                </c:pt>
                <c:pt idx="103">
                  <c:v>8.9999999999999993E-3</c:v>
                </c:pt>
                <c:pt idx="104">
                  <c:v>0.01</c:v>
                </c:pt>
                <c:pt idx="105">
                  <c:v>0.01</c:v>
                </c:pt>
                <c:pt idx="106">
                  <c:v>8.9999999999999993E-3</c:v>
                </c:pt>
                <c:pt idx="107">
                  <c:v>8.9999999999999993E-3</c:v>
                </c:pt>
                <c:pt idx="108">
                  <c:v>8.9999999999999993E-3</c:v>
                </c:pt>
                <c:pt idx="109">
                  <c:v>0.01</c:v>
                </c:pt>
                <c:pt idx="110">
                  <c:v>0.01</c:v>
                </c:pt>
                <c:pt idx="111">
                  <c:v>8.9999999999999993E-3</c:v>
                </c:pt>
                <c:pt idx="112">
                  <c:v>8.9999999999999993E-3</c:v>
                </c:pt>
                <c:pt idx="113">
                  <c:v>8.9999999999999993E-3</c:v>
                </c:pt>
                <c:pt idx="114">
                  <c:v>8.9999999999999993E-3</c:v>
                </c:pt>
                <c:pt idx="115">
                  <c:v>8.9999999999999993E-3</c:v>
                </c:pt>
                <c:pt idx="116">
                  <c:v>0.01</c:v>
                </c:pt>
                <c:pt idx="117">
                  <c:v>8.9999999999999993E-3</c:v>
                </c:pt>
                <c:pt idx="118">
                  <c:v>8.9999999999999993E-3</c:v>
                </c:pt>
                <c:pt idx="119">
                  <c:v>8.9999999999999993E-3</c:v>
                </c:pt>
                <c:pt idx="120">
                  <c:v>8.9999999999999993E-3</c:v>
                </c:pt>
                <c:pt idx="121">
                  <c:v>8.9999999999999993E-3</c:v>
                </c:pt>
                <c:pt idx="122">
                  <c:v>8.9999999999999993E-3</c:v>
                </c:pt>
                <c:pt idx="123">
                  <c:v>8.9999999999999993E-3</c:v>
                </c:pt>
                <c:pt idx="124">
                  <c:v>8.9999999999999993E-3</c:v>
                </c:pt>
                <c:pt idx="125">
                  <c:v>8.9999999999999993E-3</c:v>
                </c:pt>
                <c:pt idx="126">
                  <c:v>8.9999999999999993E-3</c:v>
                </c:pt>
                <c:pt idx="127">
                  <c:v>8.9999999999999993E-3</c:v>
                </c:pt>
                <c:pt idx="128">
                  <c:v>8.9999999999999993E-3</c:v>
                </c:pt>
                <c:pt idx="129">
                  <c:v>8.9999999999999993E-3</c:v>
                </c:pt>
                <c:pt idx="130">
                  <c:v>8.9999999999999993E-3</c:v>
                </c:pt>
                <c:pt idx="131">
                  <c:v>8.9999999999999993E-3</c:v>
                </c:pt>
                <c:pt idx="132">
                  <c:v>8.9999999999999993E-3</c:v>
                </c:pt>
                <c:pt idx="133">
                  <c:v>8.9999999999999993E-3</c:v>
                </c:pt>
                <c:pt idx="134">
                  <c:v>8.9999999999999993E-3</c:v>
                </c:pt>
                <c:pt idx="135">
                  <c:v>0.01</c:v>
                </c:pt>
                <c:pt idx="136">
                  <c:v>8.9999999999999993E-3</c:v>
                </c:pt>
                <c:pt idx="137">
                  <c:v>8.9999999999999993E-3</c:v>
                </c:pt>
                <c:pt idx="138">
                  <c:v>8.9999999999999993E-3</c:v>
                </c:pt>
                <c:pt idx="139">
                  <c:v>0.01</c:v>
                </c:pt>
                <c:pt idx="140">
                  <c:v>8.9999999999999993E-3</c:v>
                </c:pt>
                <c:pt idx="141">
                  <c:v>8.9999999999999993E-3</c:v>
                </c:pt>
                <c:pt idx="142">
                  <c:v>8.9999999999999993E-3</c:v>
                </c:pt>
                <c:pt idx="143">
                  <c:v>8.9999999999999993E-3</c:v>
                </c:pt>
                <c:pt idx="144">
                  <c:v>8.9999999999999993E-3</c:v>
                </c:pt>
                <c:pt idx="145">
                  <c:v>8.9999999999999993E-3</c:v>
                </c:pt>
                <c:pt idx="146">
                  <c:v>8.9999999999999993E-3</c:v>
                </c:pt>
                <c:pt idx="147">
                  <c:v>8.9999999999999993E-3</c:v>
                </c:pt>
                <c:pt idx="148">
                  <c:v>8.9999999999999993E-3</c:v>
                </c:pt>
                <c:pt idx="149">
                  <c:v>8.9999999999999993E-3</c:v>
                </c:pt>
                <c:pt idx="150">
                  <c:v>8.9999999999999993E-3</c:v>
                </c:pt>
                <c:pt idx="151">
                  <c:v>8.9999999999999993E-3</c:v>
                </c:pt>
                <c:pt idx="152">
                  <c:v>8.9999999999999993E-3</c:v>
                </c:pt>
                <c:pt idx="153">
                  <c:v>8.9999999999999993E-3</c:v>
                </c:pt>
                <c:pt idx="154">
                  <c:v>8.9999999999999993E-3</c:v>
                </c:pt>
                <c:pt idx="155">
                  <c:v>8.9999999999999993E-3</c:v>
                </c:pt>
                <c:pt idx="156">
                  <c:v>8.9999999999999993E-3</c:v>
                </c:pt>
                <c:pt idx="157">
                  <c:v>8.9999999999999993E-3</c:v>
                </c:pt>
                <c:pt idx="158">
                  <c:v>8.9999999999999993E-3</c:v>
                </c:pt>
                <c:pt idx="159">
                  <c:v>8.9999999999999993E-3</c:v>
                </c:pt>
                <c:pt idx="160">
                  <c:v>8.9999999999999993E-3</c:v>
                </c:pt>
                <c:pt idx="161">
                  <c:v>8.9999999999999993E-3</c:v>
                </c:pt>
                <c:pt idx="162">
                  <c:v>8.9999999999999993E-3</c:v>
                </c:pt>
                <c:pt idx="163">
                  <c:v>8.9999999999999993E-3</c:v>
                </c:pt>
                <c:pt idx="164">
                  <c:v>8.9999999999999993E-3</c:v>
                </c:pt>
                <c:pt idx="165">
                  <c:v>8.9999999999999993E-3</c:v>
                </c:pt>
                <c:pt idx="166">
                  <c:v>8.9999999999999993E-3</c:v>
                </c:pt>
                <c:pt idx="167">
                  <c:v>8.9999999999999993E-3</c:v>
                </c:pt>
                <c:pt idx="168">
                  <c:v>8.9999999999999993E-3</c:v>
                </c:pt>
                <c:pt idx="169">
                  <c:v>8.9999999999999993E-3</c:v>
                </c:pt>
                <c:pt idx="170">
                  <c:v>8.9999999999999993E-3</c:v>
                </c:pt>
                <c:pt idx="171">
                  <c:v>8.9999999999999993E-3</c:v>
                </c:pt>
                <c:pt idx="172">
                  <c:v>8.9999999999999993E-3</c:v>
                </c:pt>
                <c:pt idx="173">
                  <c:v>8.9999999999999993E-3</c:v>
                </c:pt>
                <c:pt idx="174">
                  <c:v>8.9999999999999993E-3</c:v>
                </c:pt>
                <c:pt idx="175">
                  <c:v>8.9999999999999993E-3</c:v>
                </c:pt>
                <c:pt idx="176">
                  <c:v>8.9999999999999993E-3</c:v>
                </c:pt>
                <c:pt idx="177">
                  <c:v>8.9999999999999993E-3</c:v>
                </c:pt>
                <c:pt idx="178">
                  <c:v>8.9999999999999993E-3</c:v>
                </c:pt>
                <c:pt idx="179">
                  <c:v>8.9999999999999993E-3</c:v>
                </c:pt>
                <c:pt idx="180">
                  <c:v>8.9999999999999993E-3</c:v>
                </c:pt>
                <c:pt idx="181">
                  <c:v>8.9999999999999993E-3</c:v>
                </c:pt>
                <c:pt idx="182">
                  <c:v>1E-3</c:v>
                </c:pt>
                <c:pt idx="183">
                  <c:v>8.9999999999999993E-3</c:v>
                </c:pt>
                <c:pt idx="184">
                  <c:v>8.9999999999999993E-3</c:v>
                </c:pt>
                <c:pt idx="185">
                  <c:v>8.9999999999999993E-3</c:v>
                </c:pt>
                <c:pt idx="186">
                  <c:v>8.9999999999999993E-3</c:v>
                </c:pt>
                <c:pt idx="187">
                  <c:v>8.9999999999999993E-3</c:v>
                </c:pt>
                <c:pt idx="188">
                  <c:v>8.9999999999999993E-3</c:v>
                </c:pt>
                <c:pt idx="189">
                  <c:v>8.9999999999999993E-3</c:v>
                </c:pt>
                <c:pt idx="190">
                  <c:v>8.9999999999999993E-3</c:v>
                </c:pt>
                <c:pt idx="191">
                  <c:v>8.9999999999999993E-3</c:v>
                </c:pt>
                <c:pt idx="192">
                  <c:v>8.9999999999999993E-3</c:v>
                </c:pt>
                <c:pt idx="193">
                  <c:v>8.9999999999999993E-3</c:v>
                </c:pt>
                <c:pt idx="194">
                  <c:v>8.9999999999999993E-3</c:v>
                </c:pt>
                <c:pt idx="195">
                  <c:v>8.9999999999999993E-3</c:v>
                </c:pt>
                <c:pt idx="196">
                  <c:v>8.9999999999999993E-3</c:v>
                </c:pt>
                <c:pt idx="197">
                  <c:v>8.9999999999999993E-3</c:v>
                </c:pt>
                <c:pt idx="198">
                  <c:v>8.9999999999999993E-3</c:v>
                </c:pt>
                <c:pt idx="199">
                  <c:v>8.9999999999999993E-3</c:v>
                </c:pt>
                <c:pt idx="200">
                  <c:v>1E-3</c:v>
                </c:pt>
                <c:pt idx="201">
                  <c:v>8.9999999999999993E-3</c:v>
                </c:pt>
                <c:pt idx="202">
                  <c:v>8.9999999999999993E-3</c:v>
                </c:pt>
                <c:pt idx="203">
                  <c:v>8.9999999999999993E-3</c:v>
                </c:pt>
                <c:pt idx="204">
                  <c:v>8.9999999999999993E-3</c:v>
                </c:pt>
                <c:pt idx="205">
                  <c:v>8.9999999999999993E-3</c:v>
                </c:pt>
                <c:pt idx="206">
                  <c:v>8.9999999999999993E-3</c:v>
                </c:pt>
                <c:pt idx="207">
                  <c:v>8.9999999999999993E-3</c:v>
                </c:pt>
                <c:pt idx="208">
                  <c:v>8.9999999999999993E-3</c:v>
                </c:pt>
                <c:pt idx="209">
                  <c:v>8.9999999999999993E-3</c:v>
                </c:pt>
                <c:pt idx="210">
                  <c:v>1E-3</c:v>
                </c:pt>
                <c:pt idx="211">
                  <c:v>8.9999999999999993E-3</c:v>
                </c:pt>
                <c:pt idx="212">
                  <c:v>8.9999999999999993E-3</c:v>
                </c:pt>
                <c:pt idx="213">
                  <c:v>8.9999999999999993E-3</c:v>
                </c:pt>
                <c:pt idx="214">
                  <c:v>8.9999999999999993E-3</c:v>
                </c:pt>
                <c:pt idx="215">
                  <c:v>8.9999999999999993E-3</c:v>
                </c:pt>
                <c:pt idx="216">
                  <c:v>8.9999999999999993E-3</c:v>
                </c:pt>
                <c:pt idx="217">
                  <c:v>8.9999999999999993E-3</c:v>
                </c:pt>
                <c:pt idx="218">
                  <c:v>8.9999999999999993E-3</c:v>
                </c:pt>
                <c:pt idx="219">
                  <c:v>8.9999999999999993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1346-425E-9843-B071A2B65C20}"/>
              </c:ext>
            </c:extLst>
          </c:dPt>
          <c:dPt>
            <c:idx val="211"/>
            <c:invertIfNegative val="1"/>
            <c:bubble3D val="0"/>
            <c:spPr>
              <a:solidFill>
                <a:srgbClr val="AEABAB"/>
              </a:solidFill>
            </c:spPr>
            <c:extLst>
              <c:ext xmlns:c16="http://schemas.microsoft.com/office/drawing/2014/chart" uri="{C3380CC4-5D6E-409C-BE32-E72D297353CC}">
                <c16:uniqueId val="{000001A9-1346-425E-9843-B071A2B65C20}"/>
              </c:ext>
            </c:extLst>
          </c:dPt>
          <c:dPt>
            <c:idx val="212"/>
            <c:invertIfNegative val="1"/>
            <c:bubble3D val="0"/>
            <c:spPr>
              <a:solidFill>
                <a:srgbClr val="AEABAB"/>
              </a:solidFill>
            </c:spPr>
            <c:extLst>
              <c:ext xmlns:c16="http://schemas.microsoft.com/office/drawing/2014/chart" uri="{C3380CC4-5D6E-409C-BE32-E72D297353CC}">
                <c16:uniqueId val="{000001AB-1346-425E-9843-B071A2B65C20}"/>
              </c:ext>
            </c:extLst>
          </c:dPt>
          <c:dPt>
            <c:idx val="213"/>
            <c:invertIfNegative val="1"/>
            <c:bubble3D val="0"/>
            <c:spPr>
              <a:solidFill>
                <a:srgbClr val="AEABAB"/>
              </a:solidFill>
            </c:spPr>
            <c:extLst>
              <c:ext xmlns:c16="http://schemas.microsoft.com/office/drawing/2014/chart" uri="{C3380CC4-5D6E-409C-BE32-E72D297353CC}">
                <c16:uniqueId val="{000001AD-1346-425E-9843-B071A2B65C20}"/>
              </c:ext>
            </c:extLst>
          </c:dPt>
          <c:dPt>
            <c:idx val="214"/>
            <c:invertIfNegative val="1"/>
            <c:bubble3D val="0"/>
            <c:spPr>
              <a:solidFill>
                <a:srgbClr val="AEABAB"/>
              </a:solidFill>
            </c:spPr>
            <c:extLst>
              <c:ext xmlns:c16="http://schemas.microsoft.com/office/drawing/2014/chart" uri="{C3380CC4-5D6E-409C-BE32-E72D297353CC}">
                <c16:uniqueId val="{000001AF-1346-425E-9843-B071A2B65C20}"/>
              </c:ext>
            </c:extLst>
          </c:dPt>
          <c:dPt>
            <c:idx val="215"/>
            <c:invertIfNegative val="1"/>
            <c:bubble3D val="0"/>
            <c:spPr>
              <a:solidFill>
                <a:srgbClr val="AEABAB"/>
              </a:solidFill>
            </c:spPr>
            <c:extLst>
              <c:ext xmlns:c16="http://schemas.microsoft.com/office/drawing/2014/chart" uri="{C3380CC4-5D6E-409C-BE32-E72D297353CC}">
                <c16:uniqueId val="{000001B1-1346-425E-9843-B071A2B65C20}"/>
              </c:ext>
            </c:extLst>
          </c:dPt>
          <c:dPt>
            <c:idx val="216"/>
            <c:invertIfNegative val="1"/>
            <c:bubble3D val="0"/>
            <c:spPr>
              <a:solidFill>
                <a:srgbClr val="AEABAB"/>
              </a:solidFill>
            </c:spPr>
            <c:extLst>
              <c:ext xmlns:c16="http://schemas.microsoft.com/office/drawing/2014/chart" uri="{C3380CC4-5D6E-409C-BE32-E72D297353CC}">
                <c16:uniqueId val="{000001B3-1346-425E-9843-B071A2B65C20}"/>
              </c:ext>
            </c:extLst>
          </c:dPt>
          <c:dPt>
            <c:idx val="217"/>
            <c:invertIfNegative val="1"/>
            <c:bubble3D val="0"/>
            <c:spPr>
              <a:solidFill>
                <a:srgbClr val="AEABAB"/>
              </a:solidFill>
            </c:spPr>
            <c:extLst>
              <c:ext xmlns:c16="http://schemas.microsoft.com/office/drawing/2014/chart" uri="{C3380CC4-5D6E-409C-BE32-E72D297353CC}">
                <c16:uniqueId val="{000001B5-1346-425E-9843-B071A2B65C20}"/>
              </c:ext>
            </c:extLst>
          </c:dPt>
          <c:dPt>
            <c:idx val="218"/>
            <c:invertIfNegative val="1"/>
            <c:bubble3D val="0"/>
            <c:spPr>
              <a:solidFill>
                <a:srgbClr val="AEABAB"/>
              </a:solidFill>
            </c:spPr>
            <c:extLst>
              <c:ext xmlns:c16="http://schemas.microsoft.com/office/drawing/2014/chart" uri="{C3380CC4-5D6E-409C-BE32-E72D297353CC}">
                <c16:uniqueId val="{000001B7-1346-425E-9843-B071A2B65C20}"/>
              </c:ext>
            </c:extLst>
          </c:dPt>
          <c:dPt>
            <c:idx val="219"/>
            <c:invertIfNegative val="1"/>
            <c:bubble3D val="0"/>
            <c:spPr>
              <a:solidFill>
                <a:srgbClr val="AEABAB"/>
              </a:solidFill>
            </c:spPr>
            <c:extLst>
              <c:ext xmlns:c16="http://schemas.microsoft.com/office/drawing/2014/chart" uri="{C3380CC4-5D6E-409C-BE32-E72D297353CC}">
                <c16:uniqueId val="{000001B9-1346-425E-9843-B071A2B65C20}"/>
              </c:ext>
            </c:extLst>
          </c:dPt>
          <c:cat>
            <c:strRef>
              <c:f>Sheet1!$A$2:$A$221</c:f>
              <c:strCache>
                <c:ptCount val="220"/>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Schick</c:v>
                </c:pt>
                <c:pt idx="19">
                  <c:v>Gillette</c:v>
                </c:pt>
                <c:pt idx="20">
                  <c:v>Gillette</c:v>
                </c:pt>
                <c:pt idx="21">
                  <c:v>Bic</c:v>
                </c:pt>
                <c:pt idx="22">
                  <c:v>Dollar Shav</c:v>
                </c:pt>
                <c:pt idx="23">
                  <c:v>Equate</c:v>
                </c:pt>
                <c:pt idx="24">
                  <c:v>Dollar Shav</c:v>
                </c:pt>
                <c:pt idx="25">
                  <c:v>Gillette</c:v>
                </c:pt>
                <c:pt idx="26">
                  <c:v>Gillette</c:v>
                </c:pt>
                <c:pt idx="27">
                  <c:v>Schick</c:v>
                </c:pt>
                <c:pt idx="28">
                  <c:v>Harry's</c:v>
                </c:pt>
                <c:pt idx="29">
                  <c:v>Gillette</c:v>
                </c:pt>
                <c:pt idx="30">
                  <c:v>Bic</c:v>
                </c:pt>
                <c:pt idx="31">
                  <c:v>Gillette</c:v>
                </c:pt>
                <c:pt idx="32">
                  <c:v>Schick</c:v>
                </c:pt>
                <c:pt idx="33">
                  <c:v>Bic</c:v>
                </c:pt>
                <c:pt idx="34">
                  <c:v>Van Der Hag</c:v>
                </c:pt>
                <c:pt idx="35">
                  <c:v>Dollar Shav</c:v>
                </c:pt>
                <c:pt idx="36">
                  <c:v>Comfort 3</c:v>
                </c:pt>
                <c:pt idx="37">
                  <c:v>Gillette</c:v>
                </c:pt>
                <c:pt idx="38">
                  <c:v>Van Der Hag</c:v>
                </c:pt>
                <c:pt idx="39">
                  <c:v>Gillette</c:v>
                </c:pt>
                <c:pt idx="40">
                  <c:v>Equate</c:v>
                </c:pt>
                <c:pt idx="41">
                  <c:v>Comfort 3</c:v>
                </c:pt>
                <c:pt idx="42">
                  <c:v>Gillette</c:v>
                </c:pt>
                <c:pt idx="43">
                  <c:v>Equate</c:v>
                </c:pt>
                <c:pt idx="44">
                  <c:v>Harry's</c:v>
                </c:pt>
                <c:pt idx="45">
                  <c:v>Gillette</c:v>
                </c:pt>
                <c:pt idx="46">
                  <c:v>Gillette</c:v>
                </c:pt>
                <c:pt idx="47">
                  <c:v>Gillette</c:v>
                </c:pt>
                <c:pt idx="48">
                  <c:v>Bic</c:v>
                </c:pt>
                <c:pt idx="49">
                  <c:v>Gillette</c:v>
                </c:pt>
                <c:pt idx="50">
                  <c:v>Gillette</c:v>
                </c:pt>
                <c:pt idx="51">
                  <c:v>Schick</c:v>
                </c:pt>
                <c:pt idx="52">
                  <c:v>Gillette</c:v>
                </c:pt>
                <c:pt idx="53">
                  <c:v>Harry's</c:v>
                </c:pt>
                <c:pt idx="54">
                  <c:v>Gillette</c:v>
                </c:pt>
                <c:pt idx="55">
                  <c:v>Gillette</c:v>
                </c:pt>
                <c:pt idx="56">
                  <c:v>Bic</c:v>
                </c:pt>
                <c:pt idx="57">
                  <c:v>Bic</c:v>
                </c:pt>
                <c:pt idx="58">
                  <c:v>Gillette</c:v>
                </c:pt>
                <c:pt idx="59">
                  <c:v>Gillette</c:v>
                </c:pt>
                <c:pt idx="60">
                  <c:v>Harry's</c:v>
                </c:pt>
                <c:pt idx="61">
                  <c:v>Gillette</c:v>
                </c:pt>
                <c:pt idx="62">
                  <c:v>Gillette</c:v>
                </c:pt>
                <c:pt idx="63">
                  <c:v>Equate</c:v>
                </c:pt>
                <c:pt idx="64">
                  <c:v>Gillette</c:v>
                </c:pt>
                <c:pt idx="65">
                  <c:v>Gillette</c:v>
                </c:pt>
                <c:pt idx="66">
                  <c:v>Dollar Shav</c:v>
                </c:pt>
                <c:pt idx="67">
                  <c:v>Gillette</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Gillette</c:v>
                </c:pt>
                <c:pt idx="83">
                  <c:v>Harry's</c:v>
                </c:pt>
                <c:pt idx="84">
                  <c:v>Dollar Shav</c:v>
                </c:pt>
                <c:pt idx="85">
                  <c:v>Harry's</c:v>
                </c:pt>
                <c:pt idx="86">
                  <c:v>Gillette</c:v>
                </c:pt>
                <c:pt idx="87">
                  <c:v>Gillette</c:v>
                </c:pt>
                <c:pt idx="88">
                  <c:v>Dollar Shav</c:v>
                </c:pt>
                <c:pt idx="89">
                  <c:v>Gillette</c:v>
                </c:pt>
                <c:pt idx="90">
                  <c:v>Gillette</c:v>
                </c:pt>
                <c:pt idx="91">
                  <c:v>Schick</c:v>
                </c:pt>
                <c:pt idx="92">
                  <c:v>All Others</c:v>
                </c:pt>
                <c:pt idx="93">
                  <c:v>Dollar Shav</c:v>
                </c:pt>
                <c:pt idx="94">
                  <c:v>Schick</c:v>
                </c:pt>
                <c:pt idx="95">
                  <c:v>Harry's</c:v>
                </c:pt>
                <c:pt idx="96">
                  <c:v>Gillette</c:v>
                </c:pt>
                <c:pt idx="97">
                  <c:v>All Others</c:v>
                </c:pt>
                <c:pt idx="98">
                  <c:v>Schick</c:v>
                </c:pt>
                <c:pt idx="99">
                  <c:v>Dollar Shav</c:v>
                </c:pt>
                <c:pt idx="100">
                  <c:v>Equate</c:v>
                </c:pt>
                <c:pt idx="101">
                  <c:v>Van Der Hag</c:v>
                </c:pt>
                <c:pt idx="102">
                  <c:v>Gillette</c:v>
                </c:pt>
                <c:pt idx="103">
                  <c:v>Gillette</c:v>
                </c:pt>
                <c:pt idx="104">
                  <c:v>Gillette</c:v>
                </c:pt>
                <c:pt idx="105">
                  <c:v>Schick</c:v>
                </c:pt>
                <c:pt idx="106">
                  <c:v>Harry's</c:v>
                </c:pt>
                <c:pt idx="107">
                  <c:v>Comfort 3</c:v>
                </c:pt>
                <c:pt idx="108">
                  <c:v>Gillette</c:v>
                </c:pt>
                <c:pt idx="109">
                  <c:v>Equate</c:v>
                </c:pt>
                <c:pt idx="110">
                  <c:v>Gillette</c:v>
                </c:pt>
                <c:pt idx="111">
                  <c:v>Schick</c:v>
                </c:pt>
                <c:pt idx="112">
                  <c:v>Gillette</c:v>
                </c:pt>
                <c:pt idx="113">
                  <c:v>Dollar Shav</c:v>
                </c:pt>
                <c:pt idx="114">
                  <c:v>Gillette</c:v>
                </c:pt>
                <c:pt idx="115">
                  <c:v>Gillette</c:v>
                </c:pt>
                <c:pt idx="116">
                  <c:v>Gillette</c:v>
                </c:pt>
                <c:pt idx="117">
                  <c:v>Cremo</c:v>
                </c:pt>
                <c:pt idx="118">
                  <c:v>Gillette</c:v>
                </c:pt>
                <c:pt idx="119">
                  <c:v>Bic</c:v>
                </c:pt>
                <c:pt idx="120">
                  <c:v>Cremo</c:v>
                </c:pt>
                <c:pt idx="121">
                  <c:v>Schick</c:v>
                </c:pt>
                <c:pt idx="122">
                  <c:v>Gillette</c:v>
                </c:pt>
                <c:pt idx="123">
                  <c:v>Gillette</c:v>
                </c:pt>
                <c:pt idx="124">
                  <c:v>Gillette</c:v>
                </c:pt>
                <c:pt idx="125">
                  <c:v>Harry's</c:v>
                </c:pt>
                <c:pt idx="126">
                  <c:v>Schick</c:v>
                </c:pt>
                <c:pt idx="127">
                  <c:v>Schick</c:v>
                </c:pt>
                <c:pt idx="128">
                  <c:v>Schick</c:v>
                </c:pt>
                <c:pt idx="129">
                  <c:v>Gillette</c:v>
                </c:pt>
                <c:pt idx="130">
                  <c:v>Dollar Shav</c:v>
                </c:pt>
                <c:pt idx="131">
                  <c:v>Unilever: A</c:v>
                </c:pt>
                <c:pt idx="132">
                  <c:v>Schick</c:v>
                </c:pt>
                <c:pt idx="133">
                  <c:v>Schick</c:v>
                </c:pt>
                <c:pt idx="134">
                  <c:v>Gillette</c:v>
                </c:pt>
                <c:pt idx="135">
                  <c:v>Bic</c:v>
                </c:pt>
                <c:pt idx="136">
                  <c:v>Van Der Hag</c:v>
                </c:pt>
                <c:pt idx="137">
                  <c:v>Schick</c:v>
                </c:pt>
                <c:pt idx="138">
                  <c:v>Schick</c:v>
                </c:pt>
                <c:pt idx="139">
                  <c:v>Equate</c:v>
                </c:pt>
                <c:pt idx="140">
                  <c:v>Bic</c:v>
                </c:pt>
                <c:pt idx="141">
                  <c:v>Gillette</c:v>
                </c:pt>
                <c:pt idx="142">
                  <c:v>Schick</c:v>
                </c:pt>
                <c:pt idx="143">
                  <c:v>Dollar Shav</c:v>
                </c:pt>
                <c:pt idx="144">
                  <c:v>Schick</c:v>
                </c:pt>
                <c:pt idx="145">
                  <c:v>Schick</c:v>
                </c:pt>
                <c:pt idx="146">
                  <c:v>Gillette</c:v>
                </c:pt>
                <c:pt idx="147">
                  <c:v>Gillette</c:v>
                </c:pt>
                <c:pt idx="148">
                  <c:v>Edgewell Pe</c:v>
                </c:pt>
                <c:pt idx="149">
                  <c:v>Gillette</c:v>
                </c:pt>
                <c:pt idx="150">
                  <c:v>Gillette</c:v>
                </c:pt>
                <c:pt idx="151">
                  <c:v>Gillette</c:v>
                </c:pt>
                <c:pt idx="152">
                  <c:v>Van Der Hag</c:v>
                </c:pt>
                <c:pt idx="153">
                  <c:v>Bic</c:v>
                </c:pt>
                <c:pt idx="154">
                  <c:v>Gillette</c:v>
                </c:pt>
                <c:pt idx="155">
                  <c:v>Schick</c:v>
                </c:pt>
                <c:pt idx="156">
                  <c:v>Gillette</c:v>
                </c:pt>
                <c:pt idx="157">
                  <c:v>Gillette</c:v>
                </c:pt>
                <c:pt idx="158">
                  <c:v>Schick</c:v>
                </c:pt>
                <c:pt idx="159">
                  <c:v>Equate</c:v>
                </c:pt>
                <c:pt idx="160">
                  <c:v>Gillette</c:v>
                </c:pt>
                <c:pt idx="161">
                  <c:v>Gillette</c:v>
                </c:pt>
                <c:pt idx="162">
                  <c:v>Dollar Shav</c:v>
                </c:pt>
                <c:pt idx="163">
                  <c:v>Gillette</c:v>
                </c:pt>
                <c:pt idx="164">
                  <c:v>Gillette</c:v>
                </c:pt>
                <c:pt idx="165">
                  <c:v>Gillette</c:v>
                </c:pt>
                <c:pt idx="166">
                  <c:v>Gillette</c:v>
                </c:pt>
                <c:pt idx="167">
                  <c:v>Equate</c:v>
                </c:pt>
                <c:pt idx="168">
                  <c:v>Gillette</c:v>
                </c:pt>
                <c:pt idx="169">
                  <c:v>Gillette</c:v>
                </c:pt>
                <c:pt idx="170">
                  <c:v>Bic</c:v>
                </c:pt>
                <c:pt idx="171">
                  <c:v>Gillette</c:v>
                </c:pt>
                <c:pt idx="172">
                  <c:v>Schick</c:v>
                </c:pt>
                <c:pt idx="173">
                  <c:v>Gillette</c:v>
                </c:pt>
                <c:pt idx="174">
                  <c:v>Equate</c:v>
                </c:pt>
                <c:pt idx="175">
                  <c:v>Schick</c:v>
                </c:pt>
                <c:pt idx="176">
                  <c:v>Edgewell Pe</c:v>
                </c:pt>
                <c:pt idx="177">
                  <c:v>Schick</c:v>
                </c:pt>
                <c:pt idx="178">
                  <c:v>Schick</c:v>
                </c:pt>
                <c:pt idx="179">
                  <c:v>All Others</c:v>
                </c:pt>
                <c:pt idx="180">
                  <c:v>Gillette</c:v>
                </c:pt>
                <c:pt idx="181">
                  <c:v>Gillette</c:v>
                </c:pt>
                <c:pt idx="182">
                  <c:v>Equate</c:v>
                </c:pt>
                <c:pt idx="183">
                  <c:v>Schick</c:v>
                </c:pt>
                <c:pt idx="184">
                  <c:v>Harry's</c:v>
                </c:pt>
                <c:pt idx="185">
                  <c:v>Schick</c:v>
                </c:pt>
                <c:pt idx="186">
                  <c:v>Schick</c:v>
                </c:pt>
                <c:pt idx="187">
                  <c:v>Equate</c:v>
                </c:pt>
                <c:pt idx="188">
                  <c:v>Schick</c:v>
                </c:pt>
                <c:pt idx="189">
                  <c:v>Gillette</c:v>
                </c:pt>
                <c:pt idx="190">
                  <c:v>Gillette</c:v>
                </c:pt>
                <c:pt idx="191">
                  <c:v>Equate</c:v>
                </c:pt>
                <c:pt idx="192">
                  <c:v>Schick</c:v>
                </c:pt>
                <c:pt idx="193">
                  <c:v>Schick</c:v>
                </c:pt>
                <c:pt idx="194">
                  <c:v>Gillette</c:v>
                </c:pt>
                <c:pt idx="195">
                  <c:v>Edgewell Pe</c:v>
                </c:pt>
                <c:pt idx="196">
                  <c:v>Gillette</c:v>
                </c:pt>
                <c:pt idx="197">
                  <c:v>Gillette</c:v>
                </c:pt>
                <c:pt idx="198">
                  <c:v>Equate</c:v>
                </c:pt>
                <c:pt idx="199">
                  <c:v>Dollar Shav</c:v>
                </c:pt>
                <c:pt idx="200">
                  <c:v>Dollar Shav</c:v>
                </c:pt>
                <c:pt idx="201">
                  <c:v>Gillette</c:v>
                </c:pt>
                <c:pt idx="202">
                  <c:v>Personna</c:v>
                </c:pt>
                <c:pt idx="203">
                  <c:v>Unilever: A</c:v>
                </c:pt>
                <c:pt idx="204">
                  <c:v>Dollar Shav</c:v>
                </c:pt>
                <c:pt idx="205">
                  <c:v>Schick</c:v>
                </c:pt>
                <c:pt idx="206">
                  <c:v>Equate</c:v>
                </c:pt>
                <c:pt idx="207">
                  <c:v>Schick</c:v>
                </c:pt>
                <c:pt idx="208">
                  <c:v>Gillette</c:v>
                </c:pt>
                <c:pt idx="209">
                  <c:v>Gillette</c:v>
                </c:pt>
                <c:pt idx="210">
                  <c:v>Gillette</c:v>
                </c:pt>
                <c:pt idx="211">
                  <c:v>Gillette</c:v>
                </c:pt>
                <c:pt idx="212">
                  <c:v>Procter &amp; G</c:v>
                </c:pt>
                <c:pt idx="213">
                  <c:v>Schick</c:v>
                </c:pt>
                <c:pt idx="214">
                  <c:v>Gillette</c:v>
                </c:pt>
                <c:pt idx="215">
                  <c:v>All Others</c:v>
                </c:pt>
                <c:pt idx="216">
                  <c:v>Gillette</c:v>
                </c:pt>
                <c:pt idx="217">
                  <c:v>Gillette</c:v>
                </c:pt>
                <c:pt idx="218">
                  <c:v>Private Lab</c:v>
                </c:pt>
                <c:pt idx="219">
                  <c:v>Schick</c:v>
                </c:pt>
              </c:strCache>
            </c:strRef>
          </c:cat>
          <c:val>
            <c:numRef>
              <c:f>Sheet1!$C$2:$C$221</c:f>
              <c:numCache>
                <c:formatCode>General</c:formatCode>
                <c:ptCount val="220"/>
                <c:pt idx="0">
                  <c:v>8.2511248256966568E-2</c:v>
                </c:pt>
                <c:pt idx="1">
                  <c:v>0.16089152450644711</c:v>
                </c:pt>
                <c:pt idx="2">
                  <c:v>0.21454090236603462</c:v>
                </c:pt>
                <c:pt idx="3">
                  <c:v>0.2556579646281652</c:v>
                </c:pt>
                <c:pt idx="4">
                  <c:v>0.29593620736965198</c:v>
                </c:pt>
                <c:pt idx="5">
                  <c:v>0.33566438815378236</c:v>
                </c:pt>
                <c:pt idx="6">
                  <c:v>0.37062969751573072</c:v>
                </c:pt>
                <c:pt idx="7">
                  <c:v>0.40357030757243878</c:v>
                </c:pt>
                <c:pt idx="8">
                  <c:v>0.43250144372711291</c:v>
                </c:pt>
                <c:pt idx="9">
                  <c:v>0.45866156412259951</c:v>
                </c:pt>
                <c:pt idx="10">
                  <c:v>0.48200912933668483</c:v>
                </c:pt>
                <c:pt idx="11">
                  <c:v>0.50531722208358543</c:v>
                </c:pt>
                <c:pt idx="12">
                  <c:v>0.52688606474641619</c:v>
                </c:pt>
                <c:pt idx="13">
                  <c:v>0.54639153085300052</c:v>
                </c:pt>
                <c:pt idx="14">
                  <c:v>0.56489851502726984</c:v>
                </c:pt>
                <c:pt idx="15">
                  <c:v>0.58298753114993795</c:v>
                </c:pt>
                <c:pt idx="16">
                  <c:v>0.60098440842705991</c:v>
                </c:pt>
                <c:pt idx="17">
                  <c:v>0.61802645567675352</c:v>
                </c:pt>
                <c:pt idx="18">
                  <c:v>0.63433377781061429</c:v>
                </c:pt>
                <c:pt idx="19">
                  <c:v>0.65000737335367409</c:v>
                </c:pt>
                <c:pt idx="20">
                  <c:v>0.66526226026212665</c:v>
                </c:pt>
                <c:pt idx="21">
                  <c:v>0.68046590428988107</c:v>
                </c:pt>
                <c:pt idx="22">
                  <c:v>0.69446414627937259</c:v>
                </c:pt>
                <c:pt idx="23">
                  <c:v>0.70837072594598993</c:v>
                </c:pt>
                <c:pt idx="24">
                  <c:v>0.72225528540888373</c:v>
                </c:pt>
                <c:pt idx="25">
                  <c:v>0.73611160559190925</c:v>
                </c:pt>
                <c:pt idx="26">
                  <c:v>0.74960504920752191</c:v>
                </c:pt>
                <c:pt idx="27">
                  <c:v>0.7622749827315165</c:v>
                </c:pt>
                <c:pt idx="28">
                  <c:v>0.77477276105837789</c:v>
                </c:pt>
                <c:pt idx="29">
                  <c:v>0.78711618853201271</c:v>
                </c:pt>
                <c:pt idx="30">
                  <c:v>0.79905396166410925</c:v>
                </c:pt>
                <c:pt idx="31">
                  <c:v>0.81078436851934865</c:v>
                </c:pt>
                <c:pt idx="32">
                  <c:v>0.82111755019706523</c:v>
                </c:pt>
                <c:pt idx="33">
                  <c:v>0.83114663149552992</c:v>
                </c:pt>
                <c:pt idx="34">
                  <c:v>0.84112744742120171</c:v>
                </c:pt>
                <c:pt idx="35">
                  <c:v>0.85061046408943664</c:v>
                </c:pt>
                <c:pt idx="36">
                  <c:v>0.85952095546085849</c:v>
                </c:pt>
                <c:pt idx="37">
                  <c:v>0.86840889547271227</c:v>
                </c:pt>
                <c:pt idx="38">
                  <c:v>0.87629024659647625</c:v>
                </c:pt>
                <c:pt idx="39">
                  <c:v>0.88388510439843837</c:v>
                </c:pt>
                <c:pt idx="40">
                  <c:v>0.89109150820269434</c:v>
                </c:pt>
                <c:pt idx="41">
                  <c:v>0.89795681282916073</c:v>
                </c:pt>
                <c:pt idx="42">
                  <c:v>0.90480707208693545</c:v>
                </c:pt>
                <c:pt idx="43">
                  <c:v>0.91163777570410498</c:v>
                </c:pt>
                <c:pt idx="44">
                  <c:v>0.91753509584925752</c:v>
                </c:pt>
                <c:pt idx="45">
                  <c:v>0.92335371690931722</c:v>
                </c:pt>
                <c:pt idx="46">
                  <c:v>0.92878184736840419</c:v>
                </c:pt>
                <c:pt idx="47">
                  <c:v>0.93372534819982089</c:v>
                </c:pt>
                <c:pt idx="48">
                  <c:v>0.93852841142595989</c:v>
                </c:pt>
                <c:pt idx="49">
                  <c:v>0.94292830611991274</c:v>
                </c:pt>
                <c:pt idx="50">
                  <c:v>0.94720457808503555</c:v>
                </c:pt>
                <c:pt idx="51">
                  <c:v>0.95133991164079879</c:v>
                </c:pt>
                <c:pt idx="52">
                  <c:v>0.95508370138942911</c:v>
                </c:pt>
                <c:pt idx="53">
                  <c:v>0.95847811503462488</c:v>
                </c:pt>
                <c:pt idx="54">
                  <c:v>0.96181321526546282</c:v>
                </c:pt>
                <c:pt idx="55">
                  <c:v>0.96509808332929514</c:v>
                </c:pt>
                <c:pt idx="56">
                  <c:v>0.96831202235924518</c:v>
                </c:pt>
                <c:pt idx="57">
                  <c:v>0.97150857893478793</c:v>
                </c:pt>
                <c:pt idx="58">
                  <c:v>0.97462490669640567</c:v>
                </c:pt>
                <c:pt idx="59">
                  <c:v>0.97755458022392439</c:v>
                </c:pt>
                <c:pt idx="60">
                  <c:v>0.98047841407233016</c:v>
                </c:pt>
                <c:pt idx="61">
                  <c:v>0.98323112771870536</c:v>
                </c:pt>
                <c:pt idx="62">
                  <c:v>0.98538770543218679</c:v>
                </c:pt>
                <c:pt idx="63">
                  <c:v>0.98752775964614081</c:v>
                </c:pt>
                <c:pt idx="64">
                  <c:v>0.98936412322963718</c:v>
                </c:pt>
                <c:pt idx="65">
                  <c:v>0.99114520411284113</c:v>
                </c:pt>
                <c:pt idx="66">
                  <c:v>0.99248375022784319</c:v>
                </c:pt>
                <c:pt idx="67">
                  <c:v>0.99376952676849117</c:v>
                </c:pt>
                <c:pt idx="68">
                  <c:v>0.99493357453029185</c:v>
                </c:pt>
                <c:pt idx="69">
                  <c:v>0.99598079228771919</c:v>
                </c:pt>
                <c:pt idx="70">
                  <c:v>0.99697148292258997</c:v>
                </c:pt>
                <c:pt idx="71">
                  <c:v>0.99783000377229925</c:v>
                </c:pt>
                <c:pt idx="72">
                  <c:v>0.99855689206304388</c:v>
                </c:pt>
                <c:pt idx="73">
                  <c:v>0.99892091592708077</c:v>
                </c:pt>
                <c:pt idx="74">
                  <c:v>0.99922789061824535</c:v>
                </c:pt>
                <c:pt idx="75">
                  <c:v>0.99949867083257971</c:v>
                </c:pt>
                <c:pt idx="76">
                  <c:v>0.99962979651710981</c:v>
                </c:pt>
                <c:pt idx="77">
                  <c:v>0.99973616123375886</c:v>
                </c:pt>
                <c:pt idx="78">
                  <c:v>0.99977167279593193</c:v>
                </c:pt>
                <c:pt idx="79">
                  <c:v>0.99979671603520459</c:v>
                </c:pt>
                <c:pt idx="80">
                  <c:v>0.99981800476145088</c:v>
                </c:pt>
                <c:pt idx="81">
                  <c:v>0.99983513529622914</c:v>
                </c:pt>
                <c:pt idx="82">
                  <c:v>0.99985033242373345</c:v>
                </c:pt>
                <c:pt idx="83">
                  <c:v>0.99986467059635786</c:v>
                </c:pt>
                <c:pt idx="84">
                  <c:v>0.99987716641699609</c:v>
                </c:pt>
                <c:pt idx="85">
                  <c:v>0.99988957421752289</c:v>
                </c:pt>
                <c:pt idx="86">
                  <c:v>0.99989988774643435</c:v>
                </c:pt>
                <c:pt idx="87">
                  <c:v>0.99990732392825687</c:v>
                </c:pt>
                <c:pt idx="88">
                  <c:v>0.99991403773813092</c:v>
                </c:pt>
                <c:pt idx="89">
                  <c:v>0.99992058461331101</c:v>
                </c:pt>
                <c:pt idx="90">
                  <c:v>0.9999268856392145</c:v>
                </c:pt>
                <c:pt idx="91">
                  <c:v>0.99993220933836424</c:v>
                </c:pt>
                <c:pt idx="92">
                  <c:v>0.99993744501740256</c:v>
                </c:pt>
                <c:pt idx="93">
                  <c:v>0.99994256232456702</c:v>
                </c:pt>
                <c:pt idx="94">
                  <c:v>0.99994635933006093</c:v>
                </c:pt>
                <c:pt idx="95">
                  <c:v>0.99994888763188061</c:v>
                </c:pt>
                <c:pt idx="96">
                  <c:v>0.99995141289852407</c:v>
                </c:pt>
                <c:pt idx="97">
                  <c:v>0.99995390174305243</c:v>
                </c:pt>
                <c:pt idx="98">
                  <c:v>0.9999563541654658</c:v>
                </c:pt>
                <c:pt idx="99">
                  <c:v>0.99995877320094029</c:v>
                </c:pt>
                <c:pt idx="100">
                  <c:v>0.99996113760324223</c:v>
                </c:pt>
                <c:pt idx="101">
                  <c:v>0.99996343219649031</c:v>
                </c:pt>
                <c:pt idx="102">
                  <c:v>0.99996571768420961</c:v>
                </c:pt>
                <c:pt idx="103">
                  <c:v>0.99996791818699382</c:v>
                </c:pt>
                <c:pt idx="104">
                  <c:v>0.99996994871990785</c:v>
                </c:pt>
                <c:pt idx="105">
                  <c:v>0.99997158467990876</c:v>
                </c:pt>
                <c:pt idx="106">
                  <c:v>0.99997320546402846</c:v>
                </c:pt>
                <c:pt idx="107">
                  <c:v>0.99997440132347259</c:v>
                </c:pt>
                <c:pt idx="108">
                  <c:v>0.99997555772562541</c:v>
                </c:pt>
                <c:pt idx="109">
                  <c:v>0.99997662610766691</c:v>
                </c:pt>
                <c:pt idx="110">
                  <c:v>0.99997768841935586</c:v>
                </c:pt>
                <c:pt idx="111">
                  <c:v>0.99997867485163849</c:v>
                </c:pt>
                <c:pt idx="112">
                  <c:v>0.99997963700251102</c:v>
                </c:pt>
                <c:pt idx="113">
                  <c:v>0.99998057487197356</c:v>
                </c:pt>
                <c:pt idx="114">
                  <c:v>0.99998140043991468</c:v>
                </c:pt>
                <c:pt idx="115">
                  <c:v>0.99998221993750325</c:v>
                </c:pt>
                <c:pt idx="116">
                  <c:v>0.99998303032956315</c:v>
                </c:pt>
                <c:pt idx="117">
                  <c:v>0.99998382554574172</c:v>
                </c:pt>
                <c:pt idx="118">
                  <c:v>0.9999845600583952</c:v>
                </c:pt>
                <c:pt idx="119">
                  <c:v>0.9999852854655199</c:v>
                </c:pt>
                <c:pt idx="120">
                  <c:v>0.99998594409876707</c:v>
                </c:pt>
                <c:pt idx="121">
                  <c:v>0.9999865754154279</c:v>
                </c:pt>
                <c:pt idx="122">
                  <c:v>0.99998717638032619</c:v>
                </c:pt>
                <c:pt idx="123">
                  <c:v>0.99998775609899071</c:v>
                </c:pt>
                <c:pt idx="124">
                  <c:v>0.99998831153624523</c:v>
                </c:pt>
                <c:pt idx="125">
                  <c:v>0.9999888609031472</c:v>
                </c:pt>
                <c:pt idx="126">
                  <c:v>0.99998939205899162</c:v>
                </c:pt>
                <c:pt idx="127">
                  <c:v>0.99998987161683972</c:v>
                </c:pt>
                <c:pt idx="128">
                  <c:v>0.99999032689327783</c:v>
                </c:pt>
                <c:pt idx="129">
                  <c:v>0.99999075788830594</c:v>
                </c:pt>
                <c:pt idx="130">
                  <c:v>0.99999116763710028</c:v>
                </c:pt>
                <c:pt idx="131">
                  <c:v>0.99999152882307452</c:v>
                </c:pt>
                <c:pt idx="132">
                  <c:v>0.99999189000904876</c:v>
                </c:pt>
                <c:pt idx="133">
                  <c:v>0.99999221477290789</c:v>
                </c:pt>
                <c:pt idx="134">
                  <c:v>0.99999253650159081</c:v>
                </c:pt>
                <c:pt idx="135">
                  <c:v>0.99999283394886374</c:v>
                </c:pt>
                <c:pt idx="136">
                  <c:v>0.99999312229060788</c:v>
                </c:pt>
                <c:pt idx="137">
                  <c:v>0.99999341063235203</c:v>
                </c:pt>
                <c:pt idx="138">
                  <c:v>0.99999368076303863</c:v>
                </c:pt>
                <c:pt idx="139">
                  <c:v>0.99999394482337278</c:v>
                </c:pt>
                <c:pt idx="140">
                  <c:v>0.9999942058485306</c:v>
                </c:pt>
                <c:pt idx="141">
                  <c:v>0.9999944638385122</c:v>
                </c:pt>
                <c:pt idx="142">
                  <c:v>0.99999471575814125</c:v>
                </c:pt>
                <c:pt idx="143">
                  <c:v>0.99999495857224163</c:v>
                </c:pt>
                <c:pt idx="144">
                  <c:v>0.99999518621046068</c:v>
                </c:pt>
                <c:pt idx="145">
                  <c:v>0.99999540474315096</c:v>
                </c:pt>
                <c:pt idx="146">
                  <c:v>0.99999558381854992</c:v>
                </c:pt>
                <c:pt idx="147">
                  <c:v>0.99999576289394887</c:v>
                </c:pt>
                <c:pt idx="148">
                  <c:v>0.9999959389341716</c:v>
                </c:pt>
                <c:pt idx="149">
                  <c:v>0.99999611497439433</c:v>
                </c:pt>
                <c:pt idx="150">
                  <c:v>0.99999628797944085</c:v>
                </c:pt>
                <c:pt idx="151">
                  <c:v>0.99999645794931102</c:v>
                </c:pt>
                <c:pt idx="152">
                  <c:v>0.99999662184882876</c:v>
                </c:pt>
                <c:pt idx="153">
                  <c:v>0.99999677967799394</c:v>
                </c:pt>
                <c:pt idx="154">
                  <c:v>0.99999691929610168</c:v>
                </c:pt>
                <c:pt idx="155">
                  <c:v>0.99999705587903309</c:v>
                </c:pt>
                <c:pt idx="156">
                  <c:v>0.9999971803212595</c:v>
                </c:pt>
                <c:pt idx="157">
                  <c:v>0.99999729869313336</c:v>
                </c:pt>
                <c:pt idx="158">
                  <c:v>0.999997414029831</c:v>
                </c:pt>
                <c:pt idx="159">
                  <c:v>0.99999752633135242</c:v>
                </c:pt>
                <c:pt idx="160">
                  <c:v>0.99999763559769761</c:v>
                </c:pt>
                <c:pt idx="161">
                  <c:v>0.9999977448640428</c:v>
                </c:pt>
                <c:pt idx="162">
                  <c:v>0.99999785109521167</c:v>
                </c:pt>
                <c:pt idx="163">
                  <c:v>0.99999795429120431</c:v>
                </c:pt>
                <c:pt idx="164">
                  <c:v>0.99999805141684439</c:v>
                </c:pt>
                <c:pt idx="165">
                  <c:v>0.99999814247213203</c:v>
                </c:pt>
                <c:pt idx="166">
                  <c:v>0.99999823352741968</c:v>
                </c:pt>
                <c:pt idx="167">
                  <c:v>0.99999831547717855</c:v>
                </c:pt>
                <c:pt idx="168">
                  <c:v>0.99999839439176119</c:v>
                </c:pt>
                <c:pt idx="169">
                  <c:v>0.99999847330634384</c:v>
                </c:pt>
                <c:pt idx="170">
                  <c:v>0.99999855222092648</c:v>
                </c:pt>
                <c:pt idx="171">
                  <c:v>0.9999986281003328</c:v>
                </c:pt>
                <c:pt idx="172">
                  <c:v>0.99999870094456289</c:v>
                </c:pt>
                <c:pt idx="173">
                  <c:v>0.99999877378879298</c:v>
                </c:pt>
                <c:pt idx="174">
                  <c:v>0.99999884056267052</c:v>
                </c:pt>
                <c:pt idx="175">
                  <c:v>0.99999890430137184</c:v>
                </c:pt>
                <c:pt idx="176">
                  <c:v>0.99999896804007316</c:v>
                </c:pt>
                <c:pt idx="177">
                  <c:v>0.99999903177877447</c:v>
                </c:pt>
                <c:pt idx="178">
                  <c:v>0.99999908337677079</c:v>
                </c:pt>
                <c:pt idx="179">
                  <c:v>0.99999913497476711</c:v>
                </c:pt>
                <c:pt idx="180">
                  <c:v>0.99999918657276343</c:v>
                </c:pt>
                <c:pt idx="181">
                  <c:v>0.99999923513558353</c:v>
                </c:pt>
                <c:pt idx="182">
                  <c:v>0.9999992806632273</c:v>
                </c:pt>
                <c:pt idx="183">
                  <c:v>0.99999932619087106</c:v>
                </c:pt>
                <c:pt idx="184">
                  <c:v>0.99999937171851483</c:v>
                </c:pt>
                <c:pt idx="185">
                  <c:v>0.9999994172461586</c:v>
                </c:pt>
                <c:pt idx="186">
                  <c:v>0.99999945973862614</c:v>
                </c:pt>
                <c:pt idx="187">
                  <c:v>0.99999950223109368</c:v>
                </c:pt>
                <c:pt idx="188">
                  <c:v>0.99999954168838501</c:v>
                </c:pt>
                <c:pt idx="189">
                  <c:v>0.99999958114567633</c:v>
                </c:pt>
                <c:pt idx="190">
                  <c:v>0.99999961149743888</c:v>
                </c:pt>
                <c:pt idx="191">
                  <c:v>0.99999964184920143</c:v>
                </c:pt>
                <c:pt idx="192">
                  <c:v>0.99999966916578775</c:v>
                </c:pt>
                <c:pt idx="193">
                  <c:v>0.99999969648237408</c:v>
                </c:pt>
                <c:pt idx="194">
                  <c:v>0.9999997237989604</c:v>
                </c:pt>
                <c:pt idx="195">
                  <c:v>0.9999997480803704</c:v>
                </c:pt>
                <c:pt idx="196">
                  <c:v>0.99999976932660417</c:v>
                </c:pt>
                <c:pt idx="197">
                  <c:v>0.99999979057283794</c:v>
                </c:pt>
                <c:pt idx="198">
                  <c:v>0.99999981181907172</c:v>
                </c:pt>
                <c:pt idx="199">
                  <c:v>0.99999983306530549</c:v>
                </c:pt>
                <c:pt idx="200">
                  <c:v>0.99999985127636304</c:v>
                </c:pt>
                <c:pt idx="201">
                  <c:v>0.99999986948742059</c:v>
                </c:pt>
                <c:pt idx="202">
                  <c:v>0.99999988466330181</c:v>
                </c:pt>
                <c:pt idx="203">
                  <c:v>0.9999998968040068</c:v>
                </c:pt>
                <c:pt idx="204">
                  <c:v>0.9999999089447118</c:v>
                </c:pt>
                <c:pt idx="205">
                  <c:v>0.99999991805024058</c:v>
                </c:pt>
                <c:pt idx="206">
                  <c:v>0.99999992715576935</c:v>
                </c:pt>
                <c:pt idx="207">
                  <c:v>0.99999993626129813</c:v>
                </c:pt>
                <c:pt idx="208">
                  <c:v>0.9999999453668269</c:v>
                </c:pt>
                <c:pt idx="209">
                  <c:v>0.99999995143717946</c:v>
                </c:pt>
                <c:pt idx="210">
                  <c:v>0.99999995750753201</c:v>
                </c:pt>
                <c:pt idx="211">
                  <c:v>0.99999996357788457</c:v>
                </c:pt>
                <c:pt idx="212">
                  <c:v>0.99999996964823712</c:v>
                </c:pt>
                <c:pt idx="213">
                  <c:v>0.99999997571858967</c:v>
                </c:pt>
                <c:pt idx="214">
                  <c:v>0.99999998178894223</c:v>
                </c:pt>
                <c:pt idx="215">
                  <c:v>0.99999998785929478</c:v>
                </c:pt>
                <c:pt idx="216">
                  <c:v>0.999999990894471</c:v>
                </c:pt>
                <c:pt idx="217">
                  <c:v>0.99999999392964722</c:v>
                </c:pt>
                <c:pt idx="218">
                  <c:v>0.99999999696482345</c:v>
                </c:pt>
                <c:pt idx="219">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Gillette</c:v>
                </c:pt>
                <c:pt idx="1">
                  <c:v>Gillette</c:v>
                </c:pt>
                <c:pt idx="2">
                  <c:v>Gillette</c:v>
                </c:pt>
                <c:pt idx="3">
                  <c:v>Gillette</c:v>
                </c:pt>
                <c:pt idx="4">
                  <c:v>Gillette</c:v>
                </c:pt>
                <c:pt idx="5">
                  <c:v>Gillette</c:v>
                </c:pt>
                <c:pt idx="6">
                  <c:v>Gillette</c:v>
                </c:pt>
                <c:pt idx="7">
                  <c:v>Gillette</c:v>
                </c:pt>
                <c:pt idx="8">
                  <c:v>Gillette</c:v>
                </c:pt>
                <c:pt idx="9">
                  <c:v>Cremo</c:v>
                </c:pt>
                <c:pt idx="10">
                  <c:v>Comfort 3</c:v>
                </c:pt>
                <c:pt idx="11">
                  <c:v>Gillette</c:v>
                </c:pt>
                <c:pt idx="12">
                  <c:v>All Others</c:v>
                </c:pt>
              </c:strCache>
            </c:strRef>
          </c:cat>
          <c:val>
            <c:numRef>
              <c:f>Sheet1!$B$2:$B$14</c:f>
              <c:numCache>
                <c:formatCode>General</c:formatCode>
                <c:ptCount val="13"/>
                <c:pt idx="0">
                  <c:v>0.94</c:v>
                </c:pt>
                <c:pt idx="1">
                  <c:v>0.94</c:v>
                </c:pt>
                <c:pt idx="2">
                  <c:v>0.91</c:v>
                </c:pt>
                <c:pt idx="3">
                  <c:v>0.8</c:v>
                </c:pt>
                <c:pt idx="4">
                  <c:v>0.63</c:v>
                </c:pt>
                <c:pt idx="5">
                  <c:v>0.27</c:v>
                </c:pt>
                <c:pt idx="6">
                  <c:v>0.66</c:v>
                </c:pt>
                <c:pt idx="7">
                  <c:v>0.15</c:v>
                </c:pt>
                <c:pt idx="8">
                  <c:v>0.01</c:v>
                </c:pt>
                <c:pt idx="9">
                  <c:v>0.01</c:v>
                </c:pt>
                <c:pt idx="10">
                  <c:v>0.01</c:v>
                </c:pt>
                <c:pt idx="11">
                  <c:v>0.01</c:v>
                </c:pt>
                <c:pt idx="1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Gillette</c:v>
                </c:pt>
                <c:pt idx="1">
                  <c:v>Gillette</c:v>
                </c:pt>
                <c:pt idx="2">
                  <c:v>Gillette</c:v>
                </c:pt>
                <c:pt idx="3">
                  <c:v>Gillette</c:v>
                </c:pt>
                <c:pt idx="4">
                  <c:v>Gillette</c:v>
                </c:pt>
                <c:pt idx="5">
                  <c:v>Gillette</c:v>
                </c:pt>
                <c:pt idx="6">
                  <c:v>Gillette</c:v>
                </c:pt>
                <c:pt idx="7">
                  <c:v>Gillette</c:v>
                </c:pt>
                <c:pt idx="8">
                  <c:v>Gillette</c:v>
                </c:pt>
                <c:pt idx="9">
                  <c:v>Cremo</c:v>
                </c:pt>
                <c:pt idx="10">
                  <c:v>Comfort 3</c:v>
                </c:pt>
                <c:pt idx="11">
                  <c:v>Gillette</c:v>
                </c:pt>
                <c:pt idx="12">
                  <c:v>All Others</c:v>
                </c:pt>
              </c:strCache>
            </c:strRef>
          </c:cat>
          <c:val>
            <c:numRef>
              <c:f>Sheet1!$C$2:$C$14</c:f>
              <c:numCache>
                <c:formatCode>General</c:formatCode>
                <c:ptCount val="13"/>
                <c:pt idx="0">
                  <c:v>0.51970930551469863</c:v>
                </c:pt>
                <c:pt idx="1">
                  <c:v>0.73105241901295903</c:v>
                </c:pt>
                <c:pt idx="2">
                  <c:v>0.83574847117417128</c:v>
                </c:pt>
                <c:pt idx="3">
                  <c:v>0.92038732524270495</c:v>
                </c:pt>
                <c:pt idx="4">
                  <c:v>0.98136538314318311</c:v>
                </c:pt>
                <c:pt idx="5">
                  <c:v>0.99092750874745272</c:v>
                </c:pt>
                <c:pt idx="6">
                  <c:v>0.99734671013683796</c:v>
                </c:pt>
                <c:pt idx="7">
                  <c:v>0.99992389452304731</c:v>
                </c:pt>
                <c:pt idx="8">
                  <c:v>0.99999244183562219</c:v>
                </c:pt>
                <c:pt idx="9">
                  <c:v>0.99999691686760028</c:v>
                </c:pt>
                <c:pt idx="10">
                  <c:v>0.99999881763369136</c:v>
                </c:pt>
                <c:pt idx="11">
                  <c:v>0.99999983536671644</c:v>
                </c:pt>
                <c:pt idx="12">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Gillette</c:v>
                </c:pt>
                <c:pt idx="1">
                  <c:v>Gillette</c:v>
                </c:pt>
                <c:pt idx="2">
                  <c:v>Gillette</c:v>
                </c:pt>
                <c:pt idx="3">
                  <c:v>Harry's</c:v>
                </c:pt>
                <c:pt idx="4">
                  <c:v>Gillette</c:v>
                </c:pt>
                <c:pt idx="5">
                  <c:v>Gillette</c:v>
                </c:pt>
                <c:pt idx="6">
                  <c:v>Gillette</c:v>
                </c:pt>
                <c:pt idx="7">
                  <c:v>Gillette</c:v>
                </c:pt>
                <c:pt idx="8">
                  <c:v>Pbg Pl</c:v>
                </c:pt>
                <c:pt idx="9">
                  <c:v>Dollar Shav</c:v>
                </c:pt>
                <c:pt idx="10">
                  <c:v>Harry's</c:v>
                </c:pt>
                <c:pt idx="11">
                  <c:v>Gillette</c:v>
                </c:pt>
              </c:strCache>
            </c:strRef>
          </c:cat>
          <c:val>
            <c:numRef>
              <c:f>Sheet1!$B$2:$B$13</c:f>
              <c:numCache>
                <c:formatCode>General</c:formatCode>
                <c:ptCount val="12"/>
                <c:pt idx="0">
                  <c:v>1</c:v>
                </c:pt>
                <c:pt idx="1">
                  <c:v>1</c:v>
                </c:pt>
                <c:pt idx="2">
                  <c:v>0.98</c:v>
                </c:pt>
                <c:pt idx="3">
                  <c:v>0.99</c:v>
                </c:pt>
                <c:pt idx="4">
                  <c:v>0.97</c:v>
                </c:pt>
                <c:pt idx="5">
                  <c:v>0.77</c:v>
                </c:pt>
                <c:pt idx="6">
                  <c:v>0.88</c:v>
                </c:pt>
                <c:pt idx="7">
                  <c:v>0.77</c:v>
                </c:pt>
                <c:pt idx="8">
                  <c:v>0.6</c:v>
                </c:pt>
                <c:pt idx="9">
                  <c:v>0.01</c:v>
                </c:pt>
                <c:pt idx="10">
                  <c:v>0.01</c:v>
                </c:pt>
                <c:pt idx="1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Gillette</c:v>
                </c:pt>
                <c:pt idx="1">
                  <c:v>Gillette</c:v>
                </c:pt>
                <c:pt idx="2">
                  <c:v>Gillette</c:v>
                </c:pt>
                <c:pt idx="3">
                  <c:v>Harry's</c:v>
                </c:pt>
                <c:pt idx="4">
                  <c:v>Gillette</c:v>
                </c:pt>
                <c:pt idx="5">
                  <c:v>Gillette</c:v>
                </c:pt>
                <c:pt idx="6">
                  <c:v>Gillette</c:v>
                </c:pt>
                <c:pt idx="7">
                  <c:v>Gillette</c:v>
                </c:pt>
                <c:pt idx="8">
                  <c:v>Pbg Pl</c:v>
                </c:pt>
                <c:pt idx="9">
                  <c:v>Dollar Shav</c:v>
                </c:pt>
                <c:pt idx="10">
                  <c:v>Harry's</c:v>
                </c:pt>
                <c:pt idx="11">
                  <c:v>Gillette</c:v>
                </c:pt>
              </c:strCache>
            </c:strRef>
          </c:cat>
          <c:val>
            <c:numRef>
              <c:f>Sheet1!$C$2:$C$13</c:f>
              <c:numCache>
                <c:formatCode>General</c:formatCode>
                <c:ptCount val="12"/>
                <c:pt idx="0">
                  <c:v>0.46667755944280054</c:v>
                </c:pt>
                <c:pt idx="1">
                  <c:v>0.68424113397590136</c:v>
                </c:pt>
                <c:pt idx="2">
                  <c:v>0.80846929358877562</c:v>
                </c:pt>
                <c:pt idx="3">
                  <c:v>0.89775799956796209</c:v>
                </c:pt>
                <c:pt idx="4">
                  <c:v>0.95093005634433181</c:v>
                </c:pt>
                <c:pt idx="5">
                  <c:v>0.96990592176356849</c:v>
                </c:pt>
                <c:pt idx="6">
                  <c:v>0.9862233562423961</c:v>
                </c:pt>
                <c:pt idx="7">
                  <c:v>0.99857672524626551</c:v>
                </c:pt>
                <c:pt idx="8">
                  <c:v>0.99998624812724402</c:v>
                </c:pt>
                <c:pt idx="9">
                  <c:v>0.9999982810159056</c:v>
                </c:pt>
                <c:pt idx="10">
                  <c:v>0.99999938292878665</c:v>
                </c:pt>
                <c:pt idx="1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1</c:f>
              <c:strCache>
                <c:ptCount val="100"/>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Harry's</c:v>
                </c:pt>
                <c:pt idx="13">
                  <c:v>Schick</c:v>
                </c:pt>
                <c:pt idx="14">
                  <c:v>Bic</c:v>
                </c:pt>
                <c:pt idx="15">
                  <c:v>Bic</c:v>
                </c:pt>
                <c:pt idx="16">
                  <c:v>Equate</c:v>
                </c:pt>
                <c:pt idx="17">
                  <c:v>Harry's</c:v>
                </c:pt>
                <c:pt idx="18">
                  <c:v>Dollar Shav</c:v>
                </c:pt>
                <c:pt idx="19">
                  <c:v>Dollar Shav</c:v>
                </c:pt>
                <c:pt idx="20">
                  <c:v>Schick</c:v>
                </c:pt>
                <c:pt idx="21">
                  <c:v>Harry's</c:v>
                </c:pt>
                <c:pt idx="22">
                  <c:v>Harry's</c:v>
                </c:pt>
                <c:pt idx="23">
                  <c:v>Gillette</c:v>
                </c:pt>
                <c:pt idx="24">
                  <c:v>Gillette</c:v>
                </c:pt>
                <c:pt idx="25">
                  <c:v>Gillette</c:v>
                </c:pt>
                <c:pt idx="26">
                  <c:v>Bic</c:v>
                </c:pt>
                <c:pt idx="27">
                  <c:v>Gillette</c:v>
                </c:pt>
                <c:pt idx="28">
                  <c:v>Comfort 3</c:v>
                </c:pt>
                <c:pt idx="29">
                  <c:v>Gillette</c:v>
                </c:pt>
                <c:pt idx="30">
                  <c:v>Gillette</c:v>
                </c:pt>
                <c:pt idx="31">
                  <c:v>Equate</c:v>
                </c:pt>
                <c:pt idx="32">
                  <c:v>Gillette</c:v>
                </c:pt>
                <c:pt idx="33">
                  <c:v>Gillette</c:v>
                </c:pt>
                <c:pt idx="34">
                  <c:v>Dollar Shav</c:v>
                </c:pt>
                <c:pt idx="35">
                  <c:v>Equate</c:v>
                </c:pt>
                <c:pt idx="36">
                  <c:v>Gillette</c:v>
                </c:pt>
                <c:pt idx="37">
                  <c:v>Gillette</c:v>
                </c:pt>
                <c:pt idx="38">
                  <c:v>Gillette</c:v>
                </c:pt>
                <c:pt idx="39">
                  <c:v>Gillette</c:v>
                </c:pt>
                <c:pt idx="40">
                  <c:v>Bic</c:v>
                </c:pt>
                <c:pt idx="41">
                  <c:v>Gillette</c:v>
                </c:pt>
                <c:pt idx="42">
                  <c:v>Gillette</c:v>
                </c:pt>
                <c:pt idx="43">
                  <c:v>Equate</c:v>
                </c:pt>
                <c:pt idx="44">
                  <c:v>Gillette</c:v>
                </c:pt>
                <c:pt idx="45">
                  <c:v>Gillette</c:v>
                </c:pt>
                <c:pt idx="46">
                  <c:v>Harry's</c:v>
                </c:pt>
                <c:pt idx="47">
                  <c:v>Gillette</c:v>
                </c:pt>
                <c:pt idx="48">
                  <c:v>Dollar Shav</c:v>
                </c:pt>
                <c:pt idx="49">
                  <c:v>Bic</c:v>
                </c:pt>
                <c:pt idx="50">
                  <c:v>Van Der Hag</c:v>
                </c:pt>
                <c:pt idx="51">
                  <c:v>Van Der Hag</c:v>
                </c:pt>
                <c:pt idx="52">
                  <c:v>Bic</c:v>
                </c:pt>
                <c:pt idx="53">
                  <c:v>Gillette</c:v>
                </c:pt>
                <c:pt idx="54">
                  <c:v>Comfort 3</c:v>
                </c:pt>
                <c:pt idx="55">
                  <c:v>Gillette</c:v>
                </c:pt>
                <c:pt idx="56">
                  <c:v>Schick</c:v>
                </c:pt>
                <c:pt idx="57">
                  <c:v>Schick</c:v>
                </c:pt>
                <c:pt idx="58">
                  <c:v>Gillette</c:v>
                </c:pt>
                <c:pt idx="59">
                  <c:v>Harry's</c:v>
                </c:pt>
                <c:pt idx="60">
                  <c:v>Gillette</c:v>
                </c:pt>
                <c:pt idx="61">
                  <c:v>Gillette</c:v>
                </c:pt>
                <c:pt idx="62">
                  <c:v>Harry's</c:v>
                </c:pt>
                <c:pt idx="63">
                  <c:v>Schick</c:v>
                </c:pt>
                <c:pt idx="64">
                  <c:v>Gillette</c:v>
                </c:pt>
                <c:pt idx="65">
                  <c:v>Gillette</c:v>
                </c:pt>
                <c:pt idx="66">
                  <c:v>Dollar Shav</c:v>
                </c:pt>
                <c:pt idx="67">
                  <c:v>Gillette</c:v>
                </c:pt>
                <c:pt idx="68">
                  <c:v>Schick</c:v>
                </c:pt>
                <c:pt idx="69">
                  <c:v>Gillette</c:v>
                </c:pt>
                <c:pt idx="70">
                  <c:v>Dollar Shav</c:v>
                </c:pt>
                <c:pt idx="71">
                  <c:v>Dollar Shav</c:v>
                </c:pt>
                <c:pt idx="72">
                  <c:v>Gillette</c:v>
                </c:pt>
                <c:pt idx="73">
                  <c:v>Cremo</c:v>
                </c:pt>
                <c:pt idx="74">
                  <c:v>Equate</c:v>
                </c:pt>
                <c:pt idx="75">
                  <c:v>Harry's</c:v>
                </c:pt>
                <c:pt idx="76">
                  <c:v>Equate</c:v>
                </c:pt>
                <c:pt idx="77">
                  <c:v>Van Der Hag</c:v>
                </c:pt>
                <c:pt idx="78">
                  <c:v>Dollar Shav</c:v>
                </c:pt>
                <c:pt idx="79">
                  <c:v>Schick</c:v>
                </c:pt>
                <c:pt idx="80">
                  <c:v>Gillette</c:v>
                </c:pt>
                <c:pt idx="81">
                  <c:v>Dollar Shav</c:v>
                </c:pt>
                <c:pt idx="82">
                  <c:v>Gillette</c:v>
                </c:pt>
                <c:pt idx="83">
                  <c:v>Gillette</c:v>
                </c:pt>
                <c:pt idx="84">
                  <c:v>Gillette</c:v>
                </c:pt>
                <c:pt idx="85">
                  <c:v>Gillette</c:v>
                </c:pt>
                <c:pt idx="86">
                  <c:v>Gillette</c:v>
                </c:pt>
                <c:pt idx="87">
                  <c:v>Schick</c:v>
                </c:pt>
                <c:pt idx="88">
                  <c:v>All Others</c:v>
                </c:pt>
                <c:pt idx="89">
                  <c:v>Schick</c:v>
                </c:pt>
                <c:pt idx="90">
                  <c:v>Gillette</c:v>
                </c:pt>
                <c:pt idx="91">
                  <c:v>Gillette</c:v>
                </c:pt>
                <c:pt idx="92">
                  <c:v>Bic</c:v>
                </c:pt>
                <c:pt idx="93">
                  <c:v>Equate</c:v>
                </c:pt>
                <c:pt idx="94">
                  <c:v>Bic</c:v>
                </c:pt>
                <c:pt idx="95">
                  <c:v>Equate</c:v>
                </c:pt>
                <c:pt idx="96">
                  <c:v>Gillette</c:v>
                </c:pt>
                <c:pt idx="97">
                  <c:v>Schick</c:v>
                </c:pt>
                <c:pt idx="98">
                  <c:v>Gillette</c:v>
                </c:pt>
                <c:pt idx="99">
                  <c:v>Gillette</c:v>
                </c:pt>
              </c:strCache>
            </c:strRef>
          </c:cat>
          <c:val>
            <c:numRef>
              <c:f>Sheet1!$B$2:$B$101</c:f>
              <c:numCache>
                <c:formatCode>General</c:formatCode>
                <c:ptCount val="100"/>
                <c:pt idx="0">
                  <c:v>0.93</c:v>
                </c:pt>
                <c:pt idx="1">
                  <c:v>0.95</c:v>
                </c:pt>
                <c:pt idx="2">
                  <c:v>0.91</c:v>
                </c:pt>
                <c:pt idx="3">
                  <c:v>0.76</c:v>
                </c:pt>
                <c:pt idx="4">
                  <c:v>0.55000000000000004</c:v>
                </c:pt>
                <c:pt idx="5">
                  <c:v>0.79</c:v>
                </c:pt>
                <c:pt idx="6">
                  <c:v>0.66</c:v>
                </c:pt>
                <c:pt idx="7">
                  <c:v>0.56999999999999995</c:v>
                </c:pt>
                <c:pt idx="8">
                  <c:v>0.57999999999999996</c:v>
                </c:pt>
                <c:pt idx="9">
                  <c:v>0.28000000000000003</c:v>
                </c:pt>
                <c:pt idx="10">
                  <c:v>0.71</c:v>
                </c:pt>
                <c:pt idx="11">
                  <c:v>0.48</c:v>
                </c:pt>
                <c:pt idx="12">
                  <c:v>0.69</c:v>
                </c:pt>
                <c:pt idx="13">
                  <c:v>0.56000000000000005</c:v>
                </c:pt>
                <c:pt idx="14">
                  <c:v>0.78</c:v>
                </c:pt>
                <c:pt idx="15">
                  <c:v>0.51</c:v>
                </c:pt>
                <c:pt idx="16">
                  <c:v>0.65</c:v>
                </c:pt>
                <c:pt idx="17">
                  <c:v>0.42</c:v>
                </c:pt>
                <c:pt idx="18">
                  <c:v>0.68</c:v>
                </c:pt>
                <c:pt idx="19">
                  <c:v>0.61</c:v>
                </c:pt>
                <c:pt idx="20">
                  <c:v>0.61</c:v>
                </c:pt>
                <c:pt idx="21">
                  <c:v>0.37</c:v>
                </c:pt>
                <c:pt idx="22">
                  <c:v>0.49</c:v>
                </c:pt>
                <c:pt idx="23">
                  <c:v>0.31</c:v>
                </c:pt>
                <c:pt idx="24">
                  <c:v>0.42</c:v>
                </c:pt>
                <c:pt idx="25">
                  <c:v>0.56999999999999995</c:v>
                </c:pt>
                <c:pt idx="26">
                  <c:v>0.69</c:v>
                </c:pt>
                <c:pt idx="27">
                  <c:v>0.23</c:v>
                </c:pt>
                <c:pt idx="28">
                  <c:v>0.69</c:v>
                </c:pt>
                <c:pt idx="29">
                  <c:v>0.26</c:v>
                </c:pt>
                <c:pt idx="30">
                  <c:v>0.42</c:v>
                </c:pt>
                <c:pt idx="31">
                  <c:v>0.53</c:v>
                </c:pt>
                <c:pt idx="32">
                  <c:v>0.21</c:v>
                </c:pt>
                <c:pt idx="33">
                  <c:v>0.14000000000000001</c:v>
                </c:pt>
                <c:pt idx="34">
                  <c:v>0.27</c:v>
                </c:pt>
                <c:pt idx="35">
                  <c:v>0.4</c:v>
                </c:pt>
                <c:pt idx="36">
                  <c:v>0.28999999999999998</c:v>
                </c:pt>
                <c:pt idx="37">
                  <c:v>0.21</c:v>
                </c:pt>
                <c:pt idx="38">
                  <c:v>0.16</c:v>
                </c:pt>
                <c:pt idx="39">
                  <c:v>0.16</c:v>
                </c:pt>
                <c:pt idx="40">
                  <c:v>0.43</c:v>
                </c:pt>
                <c:pt idx="41">
                  <c:v>0.08</c:v>
                </c:pt>
                <c:pt idx="42">
                  <c:v>0.18</c:v>
                </c:pt>
                <c:pt idx="43">
                  <c:v>0.41</c:v>
                </c:pt>
                <c:pt idx="44">
                  <c:v>0.21</c:v>
                </c:pt>
                <c:pt idx="45">
                  <c:v>0.06</c:v>
                </c:pt>
                <c:pt idx="46">
                  <c:v>0.27</c:v>
                </c:pt>
                <c:pt idx="47">
                  <c:v>0.23</c:v>
                </c:pt>
                <c:pt idx="48">
                  <c:v>0.34</c:v>
                </c:pt>
                <c:pt idx="49">
                  <c:v>0.36</c:v>
                </c:pt>
                <c:pt idx="50">
                  <c:v>0.06</c:v>
                </c:pt>
                <c:pt idx="51">
                  <c:v>0.13</c:v>
                </c:pt>
                <c:pt idx="52">
                  <c:v>0.01</c:v>
                </c:pt>
                <c:pt idx="53">
                  <c:v>0.01</c:v>
                </c:pt>
                <c:pt idx="54">
                  <c:v>0.01</c:v>
                </c:pt>
                <c:pt idx="55">
                  <c:v>0.01</c:v>
                </c:pt>
                <c:pt idx="56">
                  <c:v>0.01</c:v>
                </c:pt>
                <c:pt idx="57">
                  <c:v>0.01</c:v>
                </c:pt>
                <c:pt idx="58">
                  <c:v>0.01</c:v>
                </c:pt>
                <c:pt idx="59">
                  <c:v>0.01</c:v>
                </c:pt>
                <c:pt idx="60">
                  <c:v>0.01</c:v>
                </c:pt>
                <c:pt idx="61">
                  <c:v>0.01</c:v>
                </c:pt>
                <c:pt idx="62">
                  <c:v>0.01</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1</c:f>
              <c:strCache>
                <c:ptCount val="100"/>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Harry's</c:v>
                </c:pt>
                <c:pt idx="13">
                  <c:v>Schick</c:v>
                </c:pt>
                <c:pt idx="14">
                  <c:v>Bic</c:v>
                </c:pt>
                <c:pt idx="15">
                  <c:v>Bic</c:v>
                </c:pt>
                <c:pt idx="16">
                  <c:v>Equate</c:v>
                </c:pt>
                <c:pt idx="17">
                  <c:v>Harry's</c:v>
                </c:pt>
                <c:pt idx="18">
                  <c:v>Dollar Shav</c:v>
                </c:pt>
                <c:pt idx="19">
                  <c:v>Dollar Shav</c:v>
                </c:pt>
                <c:pt idx="20">
                  <c:v>Schick</c:v>
                </c:pt>
                <c:pt idx="21">
                  <c:v>Harry's</c:v>
                </c:pt>
                <c:pt idx="22">
                  <c:v>Harry's</c:v>
                </c:pt>
                <c:pt idx="23">
                  <c:v>Gillette</c:v>
                </c:pt>
                <c:pt idx="24">
                  <c:v>Gillette</c:v>
                </c:pt>
                <c:pt idx="25">
                  <c:v>Gillette</c:v>
                </c:pt>
                <c:pt idx="26">
                  <c:v>Bic</c:v>
                </c:pt>
                <c:pt idx="27">
                  <c:v>Gillette</c:v>
                </c:pt>
                <c:pt idx="28">
                  <c:v>Comfort 3</c:v>
                </c:pt>
                <c:pt idx="29">
                  <c:v>Gillette</c:v>
                </c:pt>
                <c:pt idx="30">
                  <c:v>Gillette</c:v>
                </c:pt>
                <c:pt idx="31">
                  <c:v>Equate</c:v>
                </c:pt>
                <c:pt idx="32">
                  <c:v>Gillette</c:v>
                </c:pt>
                <c:pt idx="33">
                  <c:v>Gillette</c:v>
                </c:pt>
                <c:pt idx="34">
                  <c:v>Dollar Shav</c:v>
                </c:pt>
                <c:pt idx="35">
                  <c:v>Equate</c:v>
                </c:pt>
                <c:pt idx="36">
                  <c:v>Gillette</c:v>
                </c:pt>
                <c:pt idx="37">
                  <c:v>Gillette</c:v>
                </c:pt>
                <c:pt idx="38">
                  <c:v>Gillette</c:v>
                </c:pt>
                <c:pt idx="39">
                  <c:v>Gillette</c:v>
                </c:pt>
                <c:pt idx="40">
                  <c:v>Bic</c:v>
                </c:pt>
                <c:pt idx="41">
                  <c:v>Gillette</c:v>
                </c:pt>
                <c:pt idx="42">
                  <c:v>Gillette</c:v>
                </c:pt>
                <c:pt idx="43">
                  <c:v>Equate</c:v>
                </c:pt>
                <c:pt idx="44">
                  <c:v>Gillette</c:v>
                </c:pt>
                <c:pt idx="45">
                  <c:v>Gillette</c:v>
                </c:pt>
                <c:pt idx="46">
                  <c:v>Harry's</c:v>
                </c:pt>
                <c:pt idx="47">
                  <c:v>Gillette</c:v>
                </c:pt>
                <c:pt idx="48">
                  <c:v>Dollar Shav</c:v>
                </c:pt>
                <c:pt idx="49">
                  <c:v>Bic</c:v>
                </c:pt>
                <c:pt idx="50">
                  <c:v>Van Der Hag</c:v>
                </c:pt>
                <c:pt idx="51">
                  <c:v>Van Der Hag</c:v>
                </c:pt>
                <c:pt idx="52">
                  <c:v>Bic</c:v>
                </c:pt>
                <c:pt idx="53">
                  <c:v>Gillette</c:v>
                </c:pt>
                <c:pt idx="54">
                  <c:v>Comfort 3</c:v>
                </c:pt>
                <c:pt idx="55">
                  <c:v>Gillette</c:v>
                </c:pt>
                <c:pt idx="56">
                  <c:v>Schick</c:v>
                </c:pt>
                <c:pt idx="57">
                  <c:v>Schick</c:v>
                </c:pt>
                <c:pt idx="58">
                  <c:v>Gillette</c:v>
                </c:pt>
                <c:pt idx="59">
                  <c:v>Harry's</c:v>
                </c:pt>
                <c:pt idx="60">
                  <c:v>Gillette</c:v>
                </c:pt>
                <c:pt idx="61">
                  <c:v>Gillette</c:v>
                </c:pt>
                <c:pt idx="62">
                  <c:v>Harry's</c:v>
                </c:pt>
                <c:pt idx="63">
                  <c:v>Schick</c:v>
                </c:pt>
                <c:pt idx="64">
                  <c:v>Gillette</c:v>
                </c:pt>
                <c:pt idx="65">
                  <c:v>Gillette</c:v>
                </c:pt>
                <c:pt idx="66">
                  <c:v>Dollar Shav</c:v>
                </c:pt>
                <c:pt idx="67">
                  <c:v>Gillette</c:v>
                </c:pt>
                <c:pt idx="68">
                  <c:v>Schick</c:v>
                </c:pt>
                <c:pt idx="69">
                  <c:v>Gillette</c:v>
                </c:pt>
                <c:pt idx="70">
                  <c:v>Dollar Shav</c:v>
                </c:pt>
                <c:pt idx="71">
                  <c:v>Dollar Shav</c:v>
                </c:pt>
                <c:pt idx="72">
                  <c:v>Gillette</c:v>
                </c:pt>
                <c:pt idx="73">
                  <c:v>Cremo</c:v>
                </c:pt>
                <c:pt idx="74">
                  <c:v>Equate</c:v>
                </c:pt>
                <c:pt idx="75">
                  <c:v>Harry's</c:v>
                </c:pt>
                <c:pt idx="76">
                  <c:v>Equate</c:v>
                </c:pt>
                <c:pt idx="77">
                  <c:v>Van Der Hag</c:v>
                </c:pt>
                <c:pt idx="78">
                  <c:v>Dollar Shav</c:v>
                </c:pt>
                <c:pt idx="79">
                  <c:v>Schick</c:v>
                </c:pt>
                <c:pt idx="80">
                  <c:v>Gillette</c:v>
                </c:pt>
                <c:pt idx="81">
                  <c:v>Dollar Shav</c:v>
                </c:pt>
                <c:pt idx="82">
                  <c:v>Gillette</c:v>
                </c:pt>
                <c:pt idx="83">
                  <c:v>Gillette</c:v>
                </c:pt>
                <c:pt idx="84">
                  <c:v>Gillette</c:v>
                </c:pt>
                <c:pt idx="85">
                  <c:v>Gillette</c:v>
                </c:pt>
                <c:pt idx="86">
                  <c:v>Gillette</c:v>
                </c:pt>
                <c:pt idx="87">
                  <c:v>Schick</c:v>
                </c:pt>
                <c:pt idx="88">
                  <c:v>All Others</c:v>
                </c:pt>
                <c:pt idx="89">
                  <c:v>Schick</c:v>
                </c:pt>
                <c:pt idx="90">
                  <c:v>Gillette</c:v>
                </c:pt>
                <c:pt idx="91">
                  <c:v>Gillette</c:v>
                </c:pt>
                <c:pt idx="92">
                  <c:v>Bic</c:v>
                </c:pt>
                <c:pt idx="93">
                  <c:v>Equate</c:v>
                </c:pt>
                <c:pt idx="94">
                  <c:v>Bic</c:v>
                </c:pt>
                <c:pt idx="95">
                  <c:v>Equate</c:v>
                </c:pt>
                <c:pt idx="96">
                  <c:v>Gillette</c:v>
                </c:pt>
                <c:pt idx="97">
                  <c:v>Schick</c:v>
                </c:pt>
                <c:pt idx="98">
                  <c:v>Gillette</c:v>
                </c:pt>
                <c:pt idx="99">
                  <c:v>Gillette</c:v>
                </c:pt>
              </c:strCache>
            </c:strRef>
          </c:cat>
          <c:val>
            <c:numRef>
              <c:f>Sheet1!$C$2:$C$101</c:f>
              <c:numCache>
                <c:formatCode>General</c:formatCode>
                <c:ptCount val="100"/>
                <c:pt idx="0">
                  <c:v>9.7870616263198429E-2</c:v>
                </c:pt>
                <c:pt idx="1">
                  <c:v>0.18419395078953005</c:v>
                </c:pt>
                <c:pt idx="2">
                  <c:v>0.24884344568792582</c:v>
                </c:pt>
                <c:pt idx="3">
                  <c:v>0.2988711273455536</c:v>
                </c:pt>
                <c:pt idx="4">
                  <c:v>0.34819258396336095</c:v>
                </c:pt>
                <c:pt idx="5">
                  <c:v>0.39222515376203421</c:v>
                </c:pt>
                <c:pt idx="6">
                  <c:v>0.43422905519736715</c:v>
                </c:pt>
                <c:pt idx="7">
                  <c:v>0.46729959401811438</c:v>
                </c:pt>
                <c:pt idx="8">
                  <c:v>0.49765610114608211</c:v>
                </c:pt>
                <c:pt idx="9">
                  <c:v>0.52682289979901842</c:v>
                </c:pt>
                <c:pt idx="10">
                  <c:v>0.55204961281138321</c:v>
                </c:pt>
                <c:pt idx="11">
                  <c:v>0.57668008277548455</c:v>
                </c:pt>
                <c:pt idx="12">
                  <c:v>0.60100678732496848</c:v>
                </c:pt>
                <c:pt idx="13">
                  <c:v>0.62519118309655386</c:v>
                </c:pt>
                <c:pt idx="14">
                  <c:v>0.64785291040362258</c:v>
                </c:pt>
                <c:pt idx="15">
                  <c:v>0.66745298964266309</c:v>
                </c:pt>
                <c:pt idx="16">
                  <c:v>0.68641415683940232</c:v>
                </c:pt>
                <c:pt idx="17">
                  <c:v>0.70462075656263301</c:v>
                </c:pt>
                <c:pt idx="18">
                  <c:v>0.72209914666739783</c:v>
                </c:pt>
                <c:pt idx="19">
                  <c:v>0.73924174006285215</c:v>
                </c:pt>
                <c:pt idx="20">
                  <c:v>0.75634160536593908</c:v>
                </c:pt>
                <c:pt idx="21">
                  <c:v>0.77265599476908853</c:v>
                </c:pt>
                <c:pt idx="22">
                  <c:v>0.78846509345337057</c:v>
                </c:pt>
                <c:pt idx="23">
                  <c:v>0.80419488217920587</c:v>
                </c:pt>
                <c:pt idx="24">
                  <c:v>0.81948846613358384</c:v>
                </c:pt>
                <c:pt idx="25">
                  <c:v>0.83478027713807101</c:v>
                </c:pt>
                <c:pt idx="26">
                  <c:v>0.84962034051039192</c:v>
                </c:pt>
                <c:pt idx="27">
                  <c:v>0.86435473606922342</c:v>
                </c:pt>
                <c:pt idx="28">
                  <c:v>0.8781416081081016</c:v>
                </c:pt>
                <c:pt idx="29">
                  <c:v>0.8905510753768463</c:v>
                </c:pt>
                <c:pt idx="30">
                  <c:v>0.90095403615588521</c:v>
                </c:pt>
                <c:pt idx="31">
                  <c:v>0.91129878508017736</c:v>
                </c:pt>
                <c:pt idx="32">
                  <c:v>0.92156203740782416</c:v>
                </c:pt>
                <c:pt idx="33">
                  <c:v>0.93154563643936805</c:v>
                </c:pt>
                <c:pt idx="34">
                  <c:v>0.94077833209384421</c:v>
                </c:pt>
                <c:pt idx="35">
                  <c:v>0.94872540268419869</c:v>
                </c:pt>
                <c:pt idx="36">
                  <c:v>0.95618786697107805</c:v>
                </c:pt>
                <c:pt idx="37">
                  <c:v>0.96288879018154516</c:v>
                </c:pt>
                <c:pt idx="38">
                  <c:v>0.96793519655395255</c:v>
                </c:pt>
                <c:pt idx="39">
                  <c:v>0.97202113687220415</c:v>
                </c:pt>
                <c:pt idx="40">
                  <c:v>0.97607037712771694</c:v>
                </c:pt>
                <c:pt idx="41">
                  <c:v>0.98007866224075313</c:v>
                </c:pt>
                <c:pt idx="42">
                  <c:v>0.98290385789168344</c:v>
                </c:pt>
                <c:pt idx="43">
                  <c:v>0.9856862663519167</c:v>
                </c:pt>
                <c:pt idx="44">
                  <c:v>0.98842665589973888</c:v>
                </c:pt>
                <c:pt idx="45">
                  <c:v>0.9909227329526139</c:v>
                </c:pt>
                <c:pt idx="46">
                  <c:v>0.99302249660657382</c:v>
                </c:pt>
                <c:pt idx="47">
                  <c:v>0.99501747892198966</c:v>
                </c:pt>
                <c:pt idx="48">
                  <c:v>0.99675727464979502</c:v>
                </c:pt>
                <c:pt idx="49">
                  <c:v>0.99807091232219081</c:v>
                </c:pt>
                <c:pt idx="50">
                  <c:v>0.99872359427531021</c:v>
                </c:pt>
                <c:pt idx="51">
                  <c:v>0.99922758483092433</c:v>
                </c:pt>
                <c:pt idx="52">
                  <c:v>0.99939441941564511</c:v>
                </c:pt>
                <c:pt idx="53">
                  <c:v>0.99948241682855665</c:v>
                </c:pt>
                <c:pt idx="54">
                  <c:v>0.99954919794110875</c:v>
                </c:pt>
                <c:pt idx="55">
                  <c:v>0.99960675971422885</c:v>
                </c:pt>
                <c:pt idx="56">
                  <c:v>0.99966077558756739</c:v>
                </c:pt>
                <c:pt idx="57">
                  <c:v>0.999710359086179</c:v>
                </c:pt>
                <c:pt idx="58">
                  <c:v>0.99975125513032592</c:v>
                </c:pt>
                <c:pt idx="59">
                  <c:v>0.99979120560119772</c:v>
                </c:pt>
                <c:pt idx="60">
                  <c:v>0.99982560082907856</c:v>
                </c:pt>
                <c:pt idx="61">
                  <c:v>0.99984315303299709</c:v>
                </c:pt>
                <c:pt idx="62">
                  <c:v>0.99986029154860778</c:v>
                </c:pt>
                <c:pt idx="63">
                  <c:v>0.99987683908092162</c:v>
                </c:pt>
                <c:pt idx="64">
                  <c:v>0.99989155456501499</c:v>
                </c:pt>
                <c:pt idx="65">
                  <c:v>0.99990597455745989</c:v>
                </c:pt>
                <c:pt idx="66">
                  <c:v>0.99992015815658597</c:v>
                </c:pt>
                <c:pt idx="67">
                  <c:v>0.99993215511751343</c:v>
                </c:pt>
                <c:pt idx="68">
                  <c:v>0.99994184724358293</c:v>
                </c:pt>
                <c:pt idx="69">
                  <c:v>0.99994740248657399</c:v>
                </c:pt>
                <c:pt idx="70">
                  <c:v>0.99995254404125722</c:v>
                </c:pt>
                <c:pt idx="71">
                  <c:v>0.99995721280930294</c:v>
                </c:pt>
                <c:pt idx="72">
                  <c:v>0.99996182247901888</c:v>
                </c:pt>
                <c:pt idx="73">
                  <c:v>0.99996584116543796</c:v>
                </c:pt>
                <c:pt idx="74">
                  <c:v>0.99996985985185705</c:v>
                </c:pt>
                <c:pt idx="75">
                  <c:v>0.99997340575163862</c:v>
                </c:pt>
                <c:pt idx="76">
                  <c:v>0.99997653796311226</c:v>
                </c:pt>
                <c:pt idx="77">
                  <c:v>0.99997961107625621</c:v>
                </c:pt>
                <c:pt idx="78">
                  <c:v>0.99998244779608148</c:v>
                </c:pt>
                <c:pt idx="79">
                  <c:v>0.99998504812258793</c:v>
                </c:pt>
                <c:pt idx="80">
                  <c:v>0.99998758935076471</c:v>
                </c:pt>
                <c:pt idx="81">
                  <c:v>0.99998912590733668</c:v>
                </c:pt>
                <c:pt idx="82">
                  <c:v>0.99999042607058986</c:v>
                </c:pt>
                <c:pt idx="83">
                  <c:v>0.99999148984052433</c:v>
                </c:pt>
                <c:pt idx="84">
                  <c:v>0.9999925536104588</c:v>
                </c:pt>
                <c:pt idx="85">
                  <c:v>0.99999344008540414</c:v>
                </c:pt>
                <c:pt idx="86">
                  <c:v>0.99999432656034948</c:v>
                </c:pt>
                <c:pt idx="87">
                  <c:v>0.99999515393696514</c:v>
                </c:pt>
                <c:pt idx="88">
                  <c:v>0.99999592221525113</c:v>
                </c:pt>
                <c:pt idx="89">
                  <c:v>0.9999965131985481</c:v>
                </c:pt>
                <c:pt idx="90">
                  <c:v>0.99999710418184506</c:v>
                </c:pt>
                <c:pt idx="91">
                  <c:v>0.99999769516514203</c:v>
                </c:pt>
                <c:pt idx="92">
                  <c:v>0.999998286148439</c:v>
                </c:pt>
                <c:pt idx="93">
                  <c:v>0.99999881803340618</c:v>
                </c:pt>
                <c:pt idx="94">
                  <c:v>0.99999929082004368</c:v>
                </c:pt>
                <c:pt idx="95">
                  <c:v>0.99999952721336249</c:v>
                </c:pt>
                <c:pt idx="96">
                  <c:v>0.99999970450835152</c:v>
                </c:pt>
                <c:pt idx="97">
                  <c:v>0.99999988180334054</c:v>
                </c:pt>
                <c:pt idx="98">
                  <c:v>0.99999994090167021</c:v>
                </c:pt>
                <c:pt idx="99">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9</c:f>
              <c:strCache>
                <c:ptCount val="138"/>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pt idx="11">
                  <c:v>Harry's</c:v>
                </c:pt>
                <c:pt idx="12">
                  <c:v>Gillette</c:v>
                </c:pt>
                <c:pt idx="13">
                  <c:v>Harry's</c:v>
                </c:pt>
                <c:pt idx="14">
                  <c:v>Gillette</c:v>
                </c:pt>
                <c:pt idx="15">
                  <c:v>Harry's</c:v>
                </c:pt>
                <c:pt idx="16">
                  <c:v>Gillette</c:v>
                </c:pt>
                <c:pt idx="17">
                  <c:v>Gillette</c:v>
                </c:pt>
                <c:pt idx="18">
                  <c:v>Schick</c:v>
                </c:pt>
                <c:pt idx="19">
                  <c:v>Gillette</c:v>
                </c:pt>
                <c:pt idx="20">
                  <c:v>Gillette</c:v>
                </c:pt>
                <c:pt idx="21">
                  <c:v>Bic</c:v>
                </c:pt>
                <c:pt idx="22">
                  <c:v>Bic</c:v>
                </c:pt>
                <c:pt idx="23">
                  <c:v>Gillette</c:v>
                </c:pt>
                <c:pt idx="24">
                  <c:v>Harry's</c:v>
                </c:pt>
                <c:pt idx="25">
                  <c:v>Schick</c:v>
                </c:pt>
                <c:pt idx="26">
                  <c:v>Equate</c:v>
                </c:pt>
                <c:pt idx="27">
                  <c:v>Bic</c:v>
                </c:pt>
                <c:pt idx="28">
                  <c:v>Dollar Shav</c:v>
                </c:pt>
                <c:pt idx="29">
                  <c:v>Gillette</c:v>
                </c:pt>
                <c:pt idx="30">
                  <c:v>Gillette</c:v>
                </c:pt>
                <c:pt idx="31">
                  <c:v>Dollar Shav</c:v>
                </c:pt>
                <c:pt idx="32">
                  <c:v>Bic</c:v>
                </c:pt>
                <c:pt idx="33">
                  <c:v>Comfort 3</c:v>
                </c:pt>
                <c:pt idx="34">
                  <c:v>Van Der Hag</c:v>
                </c:pt>
                <c:pt idx="35">
                  <c:v>Van Der Hag</c:v>
                </c:pt>
                <c:pt idx="36">
                  <c:v>Dollar Shav</c:v>
                </c:pt>
                <c:pt idx="37">
                  <c:v>Comfort 3</c:v>
                </c:pt>
                <c:pt idx="38">
                  <c:v>Schick</c:v>
                </c:pt>
                <c:pt idx="39">
                  <c:v>Gillette</c:v>
                </c:pt>
                <c:pt idx="40">
                  <c:v>Gillette</c:v>
                </c:pt>
                <c:pt idx="41">
                  <c:v>Gillette</c:v>
                </c:pt>
                <c:pt idx="42">
                  <c:v>Equate</c:v>
                </c:pt>
                <c:pt idx="43">
                  <c:v>Equate</c:v>
                </c:pt>
                <c:pt idx="44">
                  <c:v>Gillette</c:v>
                </c:pt>
                <c:pt idx="45">
                  <c:v>Gillette</c:v>
                </c:pt>
                <c:pt idx="46">
                  <c:v>Gillette</c:v>
                </c:pt>
                <c:pt idx="47">
                  <c:v>Gillette</c:v>
                </c:pt>
                <c:pt idx="48">
                  <c:v>Gillette</c:v>
                </c:pt>
                <c:pt idx="49">
                  <c:v>Bic</c:v>
                </c:pt>
                <c:pt idx="50">
                  <c:v>Harry's</c:v>
                </c:pt>
                <c:pt idx="51">
                  <c:v>Gillette</c:v>
                </c:pt>
                <c:pt idx="52">
                  <c:v>Gillette</c:v>
                </c:pt>
                <c:pt idx="53">
                  <c:v>Gillette</c:v>
                </c:pt>
                <c:pt idx="54">
                  <c:v>Gillette</c:v>
                </c:pt>
                <c:pt idx="55">
                  <c:v>Equate</c:v>
                </c:pt>
                <c:pt idx="56">
                  <c:v>Harry's</c:v>
                </c:pt>
                <c:pt idx="57">
                  <c:v>Gillette</c:v>
                </c:pt>
                <c:pt idx="58">
                  <c:v>Harry's</c:v>
                </c:pt>
                <c:pt idx="59">
                  <c:v>Gillette</c:v>
                </c:pt>
                <c:pt idx="60">
                  <c:v>Gillette</c:v>
                </c:pt>
                <c:pt idx="61">
                  <c:v>Dollar Shav</c:v>
                </c:pt>
                <c:pt idx="62">
                  <c:v>Bic</c:v>
                </c:pt>
                <c:pt idx="63">
                  <c:v>Gillette</c:v>
                </c:pt>
                <c:pt idx="64">
                  <c:v>Gillette</c:v>
                </c:pt>
                <c:pt idx="65">
                  <c:v>Gillette</c:v>
                </c:pt>
                <c:pt idx="66">
                  <c:v>Gillette</c:v>
                </c:pt>
                <c:pt idx="67">
                  <c:v>Gillette</c:v>
                </c:pt>
                <c:pt idx="68">
                  <c:v>Gillette</c:v>
                </c:pt>
                <c:pt idx="69">
                  <c:v>Schick</c:v>
                </c:pt>
                <c:pt idx="70">
                  <c:v>Schick</c:v>
                </c:pt>
                <c:pt idx="71">
                  <c:v>Schick</c:v>
                </c:pt>
                <c:pt idx="72">
                  <c:v>Gillette</c:v>
                </c:pt>
                <c:pt idx="73">
                  <c:v>Bic</c:v>
                </c:pt>
                <c:pt idx="74">
                  <c:v>Cremo</c:v>
                </c:pt>
                <c:pt idx="75">
                  <c:v>Bic</c:v>
                </c:pt>
                <c:pt idx="76">
                  <c:v>Cremo</c:v>
                </c:pt>
                <c:pt idx="77">
                  <c:v>Bic</c:v>
                </c:pt>
                <c:pt idx="78">
                  <c:v>Harry's</c:v>
                </c:pt>
                <c:pt idx="79">
                  <c:v>Comfort 3</c:v>
                </c:pt>
                <c:pt idx="80">
                  <c:v>Schick</c:v>
                </c:pt>
                <c:pt idx="81">
                  <c:v>Dollar Shav</c:v>
                </c:pt>
                <c:pt idx="82">
                  <c:v>Gillette</c:v>
                </c:pt>
                <c:pt idx="83">
                  <c:v>Bic</c:v>
                </c:pt>
                <c:pt idx="84">
                  <c:v>Harry's</c:v>
                </c:pt>
                <c:pt idx="85">
                  <c:v>Van Der Hag</c:v>
                </c:pt>
                <c:pt idx="86">
                  <c:v>Schick</c:v>
                </c:pt>
                <c:pt idx="87">
                  <c:v>Bic</c:v>
                </c:pt>
                <c:pt idx="88">
                  <c:v>Schick</c:v>
                </c:pt>
                <c:pt idx="89">
                  <c:v>Dollar Shav</c:v>
                </c:pt>
                <c:pt idx="90">
                  <c:v>Gillette</c:v>
                </c:pt>
                <c:pt idx="91">
                  <c:v>Gillette</c:v>
                </c:pt>
                <c:pt idx="92">
                  <c:v>Dollar Shav</c:v>
                </c:pt>
                <c:pt idx="93">
                  <c:v>Gillette</c:v>
                </c:pt>
                <c:pt idx="94">
                  <c:v>Gillette</c:v>
                </c:pt>
                <c:pt idx="95">
                  <c:v>Equate</c:v>
                </c:pt>
                <c:pt idx="96">
                  <c:v>Dollar Shav</c:v>
                </c:pt>
                <c:pt idx="97">
                  <c:v>Van Der Hag</c:v>
                </c:pt>
                <c:pt idx="98">
                  <c:v>Gillette</c:v>
                </c:pt>
                <c:pt idx="99">
                  <c:v>Cremo</c:v>
                </c:pt>
                <c:pt idx="100">
                  <c:v>Gillette</c:v>
                </c:pt>
                <c:pt idx="101">
                  <c:v>Schick</c:v>
                </c:pt>
                <c:pt idx="102">
                  <c:v>Comfort 3</c:v>
                </c:pt>
                <c:pt idx="103">
                  <c:v>Harry's</c:v>
                </c:pt>
                <c:pt idx="104">
                  <c:v>Equate</c:v>
                </c:pt>
                <c:pt idx="105">
                  <c:v>Gillette</c:v>
                </c:pt>
                <c:pt idx="106">
                  <c:v>Gillette</c:v>
                </c:pt>
                <c:pt idx="107">
                  <c:v>Gillette</c:v>
                </c:pt>
                <c:pt idx="108">
                  <c:v>Schick</c:v>
                </c:pt>
                <c:pt idx="109">
                  <c:v>All Others</c:v>
                </c:pt>
                <c:pt idx="110">
                  <c:v>Gillette</c:v>
                </c:pt>
                <c:pt idx="111">
                  <c:v>Equate</c:v>
                </c:pt>
                <c:pt idx="112">
                  <c:v>Gillette</c:v>
                </c:pt>
                <c:pt idx="113">
                  <c:v>Gillette</c:v>
                </c:pt>
                <c:pt idx="114">
                  <c:v>Dollar Shav</c:v>
                </c:pt>
                <c:pt idx="115">
                  <c:v>Bic</c:v>
                </c:pt>
                <c:pt idx="116">
                  <c:v>All Others</c:v>
                </c:pt>
                <c:pt idx="117">
                  <c:v>Schick</c:v>
                </c:pt>
                <c:pt idx="118">
                  <c:v>Cremo</c:v>
                </c:pt>
                <c:pt idx="119">
                  <c:v>Schick</c:v>
                </c:pt>
                <c:pt idx="120">
                  <c:v>Bic</c:v>
                </c:pt>
                <c:pt idx="121">
                  <c:v>Schick</c:v>
                </c:pt>
                <c:pt idx="122">
                  <c:v>Schick</c:v>
                </c:pt>
                <c:pt idx="123">
                  <c:v>Gillette</c:v>
                </c:pt>
                <c:pt idx="124">
                  <c:v>Bic</c:v>
                </c:pt>
                <c:pt idx="125">
                  <c:v>Harry's</c:v>
                </c:pt>
                <c:pt idx="126">
                  <c:v>Gillette</c:v>
                </c:pt>
                <c:pt idx="127">
                  <c:v>Gillette</c:v>
                </c:pt>
                <c:pt idx="128">
                  <c:v>Schick</c:v>
                </c:pt>
                <c:pt idx="129">
                  <c:v>Schick</c:v>
                </c:pt>
                <c:pt idx="130">
                  <c:v>Dollar Shav</c:v>
                </c:pt>
                <c:pt idx="131">
                  <c:v>Edgewell Pe</c:v>
                </c:pt>
                <c:pt idx="132">
                  <c:v>Gillette</c:v>
                </c:pt>
                <c:pt idx="133">
                  <c:v>Schick</c:v>
                </c:pt>
                <c:pt idx="134">
                  <c:v>Schick</c:v>
                </c:pt>
                <c:pt idx="135">
                  <c:v>Gillette</c:v>
                </c:pt>
                <c:pt idx="136">
                  <c:v>Equate</c:v>
                </c:pt>
                <c:pt idx="137">
                  <c:v>Schick</c:v>
                </c:pt>
              </c:strCache>
            </c:strRef>
          </c:cat>
          <c:val>
            <c:numRef>
              <c:f>Sheet1!$B$2:$B$139</c:f>
              <c:numCache>
                <c:formatCode>General</c:formatCode>
                <c:ptCount val="138"/>
                <c:pt idx="0">
                  <c:v>0.99</c:v>
                </c:pt>
                <c:pt idx="1">
                  <c:v>0.99</c:v>
                </c:pt>
                <c:pt idx="2">
                  <c:v>0.99</c:v>
                </c:pt>
                <c:pt idx="3">
                  <c:v>0.88</c:v>
                </c:pt>
                <c:pt idx="4">
                  <c:v>0.93</c:v>
                </c:pt>
                <c:pt idx="5">
                  <c:v>0.9</c:v>
                </c:pt>
                <c:pt idx="6">
                  <c:v>0.87</c:v>
                </c:pt>
                <c:pt idx="7">
                  <c:v>0.52</c:v>
                </c:pt>
                <c:pt idx="8">
                  <c:v>0.95</c:v>
                </c:pt>
                <c:pt idx="9">
                  <c:v>0.79</c:v>
                </c:pt>
                <c:pt idx="10">
                  <c:v>0.9</c:v>
                </c:pt>
                <c:pt idx="11">
                  <c:v>0.74</c:v>
                </c:pt>
                <c:pt idx="12">
                  <c:v>0.76</c:v>
                </c:pt>
                <c:pt idx="13">
                  <c:v>0.75</c:v>
                </c:pt>
                <c:pt idx="14">
                  <c:v>0.68</c:v>
                </c:pt>
                <c:pt idx="15">
                  <c:v>0.88</c:v>
                </c:pt>
                <c:pt idx="16">
                  <c:v>0.73</c:v>
                </c:pt>
                <c:pt idx="17">
                  <c:v>0.67</c:v>
                </c:pt>
                <c:pt idx="18">
                  <c:v>0.79</c:v>
                </c:pt>
                <c:pt idx="19">
                  <c:v>0.54</c:v>
                </c:pt>
                <c:pt idx="20">
                  <c:v>0.53</c:v>
                </c:pt>
                <c:pt idx="21">
                  <c:v>0.92</c:v>
                </c:pt>
                <c:pt idx="22">
                  <c:v>0.8</c:v>
                </c:pt>
                <c:pt idx="23">
                  <c:v>0.69</c:v>
                </c:pt>
                <c:pt idx="24">
                  <c:v>0.8</c:v>
                </c:pt>
                <c:pt idx="25">
                  <c:v>0.83</c:v>
                </c:pt>
                <c:pt idx="26">
                  <c:v>0.83</c:v>
                </c:pt>
                <c:pt idx="27">
                  <c:v>0.59</c:v>
                </c:pt>
                <c:pt idx="28">
                  <c:v>0.84</c:v>
                </c:pt>
                <c:pt idx="29">
                  <c:v>0.32</c:v>
                </c:pt>
                <c:pt idx="30">
                  <c:v>0.54</c:v>
                </c:pt>
                <c:pt idx="31">
                  <c:v>0.83</c:v>
                </c:pt>
                <c:pt idx="32">
                  <c:v>0.89</c:v>
                </c:pt>
                <c:pt idx="33">
                  <c:v>0.84</c:v>
                </c:pt>
                <c:pt idx="34">
                  <c:v>0.54</c:v>
                </c:pt>
                <c:pt idx="35">
                  <c:v>0.8</c:v>
                </c:pt>
                <c:pt idx="36">
                  <c:v>0.47</c:v>
                </c:pt>
                <c:pt idx="37">
                  <c:v>0.65</c:v>
                </c:pt>
                <c:pt idx="38">
                  <c:v>0.31</c:v>
                </c:pt>
                <c:pt idx="39">
                  <c:v>0.52</c:v>
                </c:pt>
                <c:pt idx="40">
                  <c:v>0.6</c:v>
                </c:pt>
                <c:pt idx="41">
                  <c:v>0.44</c:v>
                </c:pt>
                <c:pt idx="42">
                  <c:v>0.7</c:v>
                </c:pt>
                <c:pt idx="43">
                  <c:v>0.54</c:v>
                </c:pt>
                <c:pt idx="44">
                  <c:v>0.31</c:v>
                </c:pt>
                <c:pt idx="45">
                  <c:v>0.33</c:v>
                </c:pt>
                <c:pt idx="46">
                  <c:v>0.4</c:v>
                </c:pt>
                <c:pt idx="47">
                  <c:v>0.43</c:v>
                </c:pt>
                <c:pt idx="48">
                  <c:v>0.23</c:v>
                </c:pt>
                <c:pt idx="49">
                  <c:v>0.77</c:v>
                </c:pt>
                <c:pt idx="50">
                  <c:v>0.31</c:v>
                </c:pt>
                <c:pt idx="51">
                  <c:v>0.54</c:v>
                </c:pt>
                <c:pt idx="52">
                  <c:v>0.17</c:v>
                </c:pt>
                <c:pt idx="53">
                  <c:v>0.34</c:v>
                </c:pt>
                <c:pt idx="54">
                  <c:v>0.24</c:v>
                </c:pt>
                <c:pt idx="55">
                  <c:v>0.67</c:v>
                </c:pt>
                <c:pt idx="56">
                  <c:v>0.56999999999999995</c:v>
                </c:pt>
                <c:pt idx="57">
                  <c:v>0.59</c:v>
                </c:pt>
                <c:pt idx="58">
                  <c:v>0.14000000000000001</c:v>
                </c:pt>
                <c:pt idx="59">
                  <c:v>0.28000000000000003</c:v>
                </c:pt>
                <c:pt idx="60">
                  <c:v>0.4</c:v>
                </c:pt>
                <c:pt idx="61">
                  <c:v>0.62</c:v>
                </c:pt>
                <c:pt idx="62">
                  <c:v>0.61</c:v>
                </c:pt>
                <c:pt idx="63">
                  <c:v>0.19</c:v>
                </c:pt>
                <c:pt idx="64">
                  <c:v>0.28999999999999998</c:v>
                </c:pt>
                <c:pt idx="65">
                  <c:v>0.26</c:v>
                </c:pt>
                <c:pt idx="66">
                  <c:v>0.15</c:v>
                </c:pt>
                <c:pt idx="67">
                  <c:v>0.14000000000000001</c:v>
                </c:pt>
                <c:pt idx="68">
                  <c:v>0.05</c:v>
                </c:pt>
                <c:pt idx="69">
                  <c:v>0.05</c:v>
                </c:pt>
                <c:pt idx="70">
                  <c:v>0.04</c:v>
                </c:pt>
                <c:pt idx="71">
                  <c:v>0.04</c:v>
                </c:pt>
                <c:pt idx="72">
                  <c:v>0.05</c:v>
                </c:pt>
                <c:pt idx="73">
                  <c:v>0.03</c:v>
                </c:pt>
                <c:pt idx="74">
                  <c:v>0.05</c:v>
                </c:pt>
                <c:pt idx="75">
                  <c:v>0.04</c:v>
                </c:pt>
                <c:pt idx="76">
                  <c:v>0.04</c:v>
                </c:pt>
                <c:pt idx="77">
                  <c:v>0.02</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01</c:v>
                </c:pt>
                <c:pt idx="102">
                  <c:v>0.01</c:v>
                </c:pt>
                <c:pt idx="103">
                  <c:v>0.01</c:v>
                </c:pt>
                <c:pt idx="104">
                  <c:v>0.01</c:v>
                </c:pt>
                <c:pt idx="105">
                  <c:v>0.01</c:v>
                </c:pt>
                <c:pt idx="106">
                  <c:v>0.01</c:v>
                </c:pt>
                <c:pt idx="107">
                  <c:v>0.01</c:v>
                </c:pt>
                <c:pt idx="108">
                  <c:v>0.01</c:v>
                </c:pt>
                <c:pt idx="109">
                  <c:v>0.01</c:v>
                </c:pt>
                <c:pt idx="110">
                  <c:v>0.01</c:v>
                </c:pt>
                <c:pt idx="111">
                  <c:v>0.01</c:v>
                </c:pt>
                <c:pt idx="112">
                  <c:v>0.01</c:v>
                </c:pt>
                <c:pt idx="113">
                  <c:v>0.01</c:v>
                </c:pt>
                <c:pt idx="114">
                  <c:v>0.01</c:v>
                </c:pt>
                <c:pt idx="115">
                  <c:v>0.01</c:v>
                </c:pt>
                <c:pt idx="116">
                  <c:v>0.01</c:v>
                </c:pt>
                <c:pt idx="117">
                  <c:v>0.01</c:v>
                </c:pt>
                <c:pt idx="118">
                  <c:v>0.01</c:v>
                </c:pt>
                <c:pt idx="119">
                  <c:v>0.01</c:v>
                </c:pt>
                <c:pt idx="120">
                  <c:v>0.01</c:v>
                </c:pt>
                <c:pt idx="121">
                  <c:v>0.01</c:v>
                </c:pt>
                <c:pt idx="122">
                  <c:v>0.01</c:v>
                </c:pt>
                <c:pt idx="123">
                  <c:v>0.01</c:v>
                </c:pt>
                <c:pt idx="124">
                  <c:v>0.01</c:v>
                </c:pt>
                <c:pt idx="125">
                  <c:v>0.01</c:v>
                </c:pt>
                <c:pt idx="126">
                  <c:v>0.01</c:v>
                </c:pt>
                <c:pt idx="127">
                  <c:v>0.01</c:v>
                </c:pt>
                <c:pt idx="128">
                  <c:v>0.01</c:v>
                </c:pt>
                <c:pt idx="129">
                  <c:v>0.01</c:v>
                </c:pt>
                <c:pt idx="130">
                  <c:v>0.01</c:v>
                </c:pt>
                <c:pt idx="131">
                  <c:v>0.01</c:v>
                </c:pt>
                <c:pt idx="132">
                  <c:v>0.01</c:v>
                </c:pt>
                <c:pt idx="133">
                  <c:v>0.01</c:v>
                </c:pt>
                <c:pt idx="134">
                  <c:v>0.01</c:v>
                </c:pt>
                <c:pt idx="135">
                  <c:v>0.01</c:v>
                </c:pt>
                <c:pt idx="136">
                  <c:v>0.01</c:v>
                </c:pt>
                <c:pt idx="13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9</c:f>
              <c:strCache>
                <c:ptCount val="138"/>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pt idx="11">
                  <c:v>Harry's</c:v>
                </c:pt>
                <c:pt idx="12">
                  <c:v>Gillette</c:v>
                </c:pt>
                <c:pt idx="13">
                  <c:v>Harry's</c:v>
                </c:pt>
                <c:pt idx="14">
                  <c:v>Gillette</c:v>
                </c:pt>
                <c:pt idx="15">
                  <c:v>Harry's</c:v>
                </c:pt>
                <c:pt idx="16">
                  <c:v>Gillette</c:v>
                </c:pt>
                <c:pt idx="17">
                  <c:v>Gillette</c:v>
                </c:pt>
                <c:pt idx="18">
                  <c:v>Schick</c:v>
                </c:pt>
                <c:pt idx="19">
                  <c:v>Gillette</c:v>
                </c:pt>
                <c:pt idx="20">
                  <c:v>Gillette</c:v>
                </c:pt>
                <c:pt idx="21">
                  <c:v>Bic</c:v>
                </c:pt>
                <c:pt idx="22">
                  <c:v>Bic</c:v>
                </c:pt>
                <c:pt idx="23">
                  <c:v>Gillette</c:v>
                </c:pt>
                <c:pt idx="24">
                  <c:v>Harry's</c:v>
                </c:pt>
                <c:pt idx="25">
                  <c:v>Schick</c:v>
                </c:pt>
                <c:pt idx="26">
                  <c:v>Equate</c:v>
                </c:pt>
                <c:pt idx="27">
                  <c:v>Bic</c:v>
                </c:pt>
                <c:pt idx="28">
                  <c:v>Dollar Shav</c:v>
                </c:pt>
                <c:pt idx="29">
                  <c:v>Gillette</c:v>
                </c:pt>
                <c:pt idx="30">
                  <c:v>Gillette</c:v>
                </c:pt>
                <c:pt idx="31">
                  <c:v>Dollar Shav</c:v>
                </c:pt>
                <c:pt idx="32">
                  <c:v>Bic</c:v>
                </c:pt>
                <c:pt idx="33">
                  <c:v>Comfort 3</c:v>
                </c:pt>
                <c:pt idx="34">
                  <c:v>Van Der Hag</c:v>
                </c:pt>
                <c:pt idx="35">
                  <c:v>Van Der Hag</c:v>
                </c:pt>
                <c:pt idx="36">
                  <c:v>Dollar Shav</c:v>
                </c:pt>
                <c:pt idx="37">
                  <c:v>Comfort 3</c:v>
                </c:pt>
                <c:pt idx="38">
                  <c:v>Schick</c:v>
                </c:pt>
                <c:pt idx="39">
                  <c:v>Gillette</c:v>
                </c:pt>
                <c:pt idx="40">
                  <c:v>Gillette</c:v>
                </c:pt>
                <c:pt idx="41">
                  <c:v>Gillette</c:v>
                </c:pt>
                <c:pt idx="42">
                  <c:v>Equate</c:v>
                </c:pt>
                <c:pt idx="43">
                  <c:v>Equate</c:v>
                </c:pt>
                <c:pt idx="44">
                  <c:v>Gillette</c:v>
                </c:pt>
                <c:pt idx="45">
                  <c:v>Gillette</c:v>
                </c:pt>
                <c:pt idx="46">
                  <c:v>Gillette</c:v>
                </c:pt>
                <c:pt idx="47">
                  <c:v>Gillette</c:v>
                </c:pt>
                <c:pt idx="48">
                  <c:v>Gillette</c:v>
                </c:pt>
                <c:pt idx="49">
                  <c:v>Bic</c:v>
                </c:pt>
                <c:pt idx="50">
                  <c:v>Harry's</c:v>
                </c:pt>
                <c:pt idx="51">
                  <c:v>Gillette</c:v>
                </c:pt>
                <c:pt idx="52">
                  <c:v>Gillette</c:v>
                </c:pt>
                <c:pt idx="53">
                  <c:v>Gillette</c:v>
                </c:pt>
                <c:pt idx="54">
                  <c:v>Gillette</c:v>
                </c:pt>
                <c:pt idx="55">
                  <c:v>Equate</c:v>
                </c:pt>
                <c:pt idx="56">
                  <c:v>Harry's</c:v>
                </c:pt>
                <c:pt idx="57">
                  <c:v>Gillette</c:v>
                </c:pt>
                <c:pt idx="58">
                  <c:v>Harry's</c:v>
                </c:pt>
                <c:pt idx="59">
                  <c:v>Gillette</c:v>
                </c:pt>
                <c:pt idx="60">
                  <c:v>Gillette</c:v>
                </c:pt>
                <c:pt idx="61">
                  <c:v>Dollar Shav</c:v>
                </c:pt>
                <c:pt idx="62">
                  <c:v>Bic</c:v>
                </c:pt>
                <c:pt idx="63">
                  <c:v>Gillette</c:v>
                </c:pt>
                <c:pt idx="64">
                  <c:v>Gillette</c:v>
                </c:pt>
                <c:pt idx="65">
                  <c:v>Gillette</c:v>
                </c:pt>
                <c:pt idx="66">
                  <c:v>Gillette</c:v>
                </c:pt>
                <c:pt idx="67">
                  <c:v>Gillette</c:v>
                </c:pt>
                <c:pt idx="68">
                  <c:v>Gillette</c:v>
                </c:pt>
                <c:pt idx="69">
                  <c:v>Schick</c:v>
                </c:pt>
                <c:pt idx="70">
                  <c:v>Schick</c:v>
                </c:pt>
                <c:pt idx="71">
                  <c:v>Schick</c:v>
                </c:pt>
                <c:pt idx="72">
                  <c:v>Gillette</c:v>
                </c:pt>
                <c:pt idx="73">
                  <c:v>Bic</c:v>
                </c:pt>
                <c:pt idx="74">
                  <c:v>Cremo</c:v>
                </c:pt>
                <c:pt idx="75">
                  <c:v>Bic</c:v>
                </c:pt>
                <c:pt idx="76">
                  <c:v>Cremo</c:v>
                </c:pt>
                <c:pt idx="77">
                  <c:v>Bic</c:v>
                </c:pt>
                <c:pt idx="78">
                  <c:v>Harry's</c:v>
                </c:pt>
                <c:pt idx="79">
                  <c:v>Comfort 3</c:v>
                </c:pt>
                <c:pt idx="80">
                  <c:v>Schick</c:v>
                </c:pt>
                <c:pt idx="81">
                  <c:v>Dollar Shav</c:v>
                </c:pt>
                <c:pt idx="82">
                  <c:v>Gillette</c:v>
                </c:pt>
                <c:pt idx="83">
                  <c:v>Bic</c:v>
                </c:pt>
                <c:pt idx="84">
                  <c:v>Harry's</c:v>
                </c:pt>
                <c:pt idx="85">
                  <c:v>Van Der Hag</c:v>
                </c:pt>
                <c:pt idx="86">
                  <c:v>Schick</c:v>
                </c:pt>
                <c:pt idx="87">
                  <c:v>Bic</c:v>
                </c:pt>
                <c:pt idx="88">
                  <c:v>Schick</c:v>
                </c:pt>
                <c:pt idx="89">
                  <c:v>Dollar Shav</c:v>
                </c:pt>
                <c:pt idx="90">
                  <c:v>Gillette</c:v>
                </c:pt>
                <c:pt idx="91">
                  <c:v>Gillette</c:v>
                </c:pt>
                <c:pt idx="92">
                  <c:v>Dollar Shav</c:v>
                </c:pt>
                <c:pt idx="93">
                  <c:v>Gillette</c:v>
                </c:pt>
                <c:pt idx="94">
                  <c:v>Gillette</c:v>
                </c:pt>
                <c:pt idx="95">
                  <c:v>Equate</c:v>
                </c:pt>
                <c:pt idx="96">
                  <c:v>Dollar Shav</c:v>
                </c:pt>
                <c:pt idx="97">
                  <c:v>Van Der Hag</c:v>
                </c:pt>
                <c:pt idx="98">
                  <c:v>Gillette</c:v>
                </c:pt>
                <c:pt idx="99">
                  <c:v>Cremo</c:v>
                </c:pt>
                <c:pt idx="100">
                  <c:v>Gillette</c:v>
                </c:pt>
                <c:pt idx="101">
                  <c:v>Schick</c:v>
                </c:pt>
                <c:pt idx="102">
                  <c:v>Comfort 3</c:v>
                </c:pt>
                <c:pt idx="103">
                  <c:v>Harry's</c:v>
                </c:pt>
                <c:pt idx="104">
                  <c:v>Equate</c:v>
                </c:pt>
                <c:pt idx="105">
                  <c:v>Gillette</c:v>
                </c:pt>
                <c:pt idx="106">
                  <c:v>Gillette</c:v>
                </c:pt>
                <c:pt idx="107">
                  <c:v>Gillette</c:v>
                </c:pt>
                <c:pt idx="108">
                  <c:v>Schick</c:v>
                </c:pt>
                <c:pt idx="109">
                  <c:v>All Others</c:v>
                </c:pt>
                <c:pt idx="110">
                  <c:v>Gillette</c:v>
                </c:pt>
                <c:pt idx="111">
                  <c:v>Equate</c:v>
                </c:pt>
                <c:pt idx="112">
                  <c:v>Gillette</c:v>
                </c:pt>
                <c:pt idx="113">
                  <c:v>Gillette</c:v>
                </c:pt>
                <c:pt idx="114">
                  <c:v>Dollar Shav</c:v>
                </c:pt>
                <c:pt idx="115">
                  <c:v>Bic</c:v>
                </c:pt>
                <c:pt idx="116">
                  <c:v>All Others</c:v>
                </c:pt>
                <c:pt idx="117">
                  <c:v>Schick</c:v>
                </c:pt>
                <c:pt idx="118">
                  <c:v>Cremo</c:v>
                </c:pt>
                <c:pt idx="119">
                  <c:v>Schick</c:v>
                </c:pt>
                <c:pt idx="120">
                  <c:v>Bic</c:v>
                </c:pt>
                <c:pt idx="121">
                  <c:v>Schick</c:v>
                </c:pt>
                <c:pt idx="122">
                  <c:v>Schick</c:v>
                </c:pt>
                <c:pt idx="123">
                  <c:v>Gillette</c:v>
                </c:pt>
                <c:pt idx="124">
                  <c:v>Bic</c:v>
                </c:pt>
                <c:pt idx="125">
                  <c:v>Harry's</c:v>
                </c:pt>
                <c:pt idx="126">
                  <c:v>Gillette</c:v>
                </c:pt>
                <c:pt idx="127">
                  <c:v>Gillette</c:v>
                </c:pt>
                <c:pt idx="128">
                  <c:v>Schick</c:v>
                </c:pt>
                <c:pt idx="129">
                  <c:v>Schick</c:v>
                </c:pt>
                <c:pt idx="130">
                  <c:v>Dollar Shav</c:v>
                </c:pt>
                <c:pt idx="131">
                  <c:v>Edgewell Pe</c:v>
                </c:pt>
                <c:pt idx="132">
                  <c:v>Gillette</c:v>
                </c:pt>
                <c:pt idx="133">
                  <c:v>Schick</c:v>
                </c:pt>
                <c:pt idx="134">
                  <c:v>Schick</c:v>
                </c:pt>
                <c:pt idx="135">
                  <c:v>Gillette</c:v>
                </c:pt>
                <c:pt idx="136">
                  <c:v>Equate</c:v>
                </c:pt>
                <c:pt idx="137">
                  <c:v>Schick</c:v>
                </c:pt>
              </c:strCache>
            </c:strRef>
          </c:cat>
          <c:val>
            <c:numRef>
              <c:f>Sheet1!$C$2:$C$139</c:f>
              <c:numCache>
                <c:formatCode>General</c:formatCode>
                <c:ptCount val="138"/>
                <c:pt idx="0">
                  <c:v>8.646662988475308E-2</c:v>
                </c:pt>
                <c:pt idx="1">
                  <c:v>0.15268420210872241</c:v>
                </c:pt>
                <c:pt idx="2">
                  <c:v>0.2057540141463296</c:v>
                </c:pt>
                <c:pt idx="3">
                  <c:v>0.25606316648951677</c:v>
                </c:pt>
                <c:pt idx="4">
                  <c:v>0.30479130921559483</c:v>
                </c:pt>
                <c:pt idx="5">
                  <c:v>0.34455844378652534</c:v>
                </c:pt>
                <c:pt idx="6">
                  <c:v>0.3822268336891258</c:v>
                </c:pt>
                <c:pt idx="7">
                  <c:v>0.41957244799920634</c:v>
                </c:pt>
                <c:pt idx="8">
                  <c:v>0.45644876235206261</c:v>
                </c:pt>
                <c:pt idx="9">
                  <c:v>0.48444818525706074</c:v>
                </c:pt>
                <c:pt idx="10">
                  <c:v>0.5080472353290546</c:v>
                </c:pt>
                <c:pt idx="11">
                  <c:v>0.52923104810495702</c:v>
                </c:pt>
                <c:pt idx="12">
                  <c:v>0.55020236538619061</c:v>
                </c:pt>
                <c:pt idx="13">
                  <c:v>0.57024436653672339</c:v>
                </c:pt>
                <c:pt idx="14">
                  <c:v>0.58925914983703442</c:v>
                </c:pt>
                <c:pt idx="15">
                  <c:v>0.60804118211449987</c:v>
                </c:pt>
                <c:pt idx="16">
                  <c:v>0.62545455960613494</c:v>
                </c:pt>
                <c:pt idx="17">
                  <c:v>0.6424564497938835</c:v>
                </c:pt>
                <c:pt idx="18">
                  <c:v>0.65934740345462717</c:v>
                </c:pt>
                <c:pt idx="19">
                  <c:v>0.67611851190699179</c:v>
                </c:pt>
                <c:pt idx="20">
                  <c:v>0.69288282162883419</c:v>
                </c:pt>
                <c:pt idx="21">
                  <c:v>0.70868593151821602</c:v>
                </c:pt>
                <c:pt idx="22">
                  <c:v>0.7238746706073671</c:v>
                </c:pt>
                <c:pt idx="23">
                  <c:v>0.73854717505479184</c:v>
                </c:pt>
                <c:pt idx="24">
                  <c:v>0.75207036582937403</c:v>
                </c:pt>
                <c:pt idx="25">
                  <c:v>0.76543849866025149</c:v>
                </c:pt>
                <c:pt idx="26">
                  <c:v>0.77875355450525841</c:v>
                </c:pt>
                <c:pt idx="27">
                  <c:v>0.79157811710893022</c:v>
                </c:pt>
                <c:pt idx="28">
                  <c:v>0.80428480379168477</c:v>
                </c:pt>
                <c:pt idx="29">
                  <c:v>0.81678729411978723</c:v>
                </c:pt>
                <c:pt idx="30">
                  <c:v>0.82899940832289321</c:v>
                </c:pt>
                <c:pt idx="31">
                  <c:v>0.84041424243082075</c:v>
                </c:pt>
                <c:pt idx="32">
                  <c:v>0.85049966683876033</c:v>
                </c:pt>
                <c:pt idx="33">
                  <c:v>0.85992589571281886</c:v>
                </c:pt>
                <c:pt idx="34">
                  <c:v>0.86833958261702437</c:v>
                </c:pt>
                <c:pt idx="35">
                  <c:v>0.87661255924331705</c:v>
                </c:pt>
                <c:pt idx="36">
                  <c:v>0.88463881228334595</c:v>
                </c:pt>
                <c:pt idx="37">
                  <c:v>0.89235766892817436</c:v>
                </c:pt>
                <c:pt idx="38">
                  <c:v>0.90002560542578069</c:v>
                </c:pt>
                <c:pt idx="39">
                  <c:v>0.90763962095717576</c:v>
                </c:pt>
                <c:pt idx="40">
                  <c:v>0.91514284062495599</c:v>
                </c:pt>
                <c:pt idx="41">
                  <c:v>0.92245250746793639</c:v>
                </c:pt>
                <c:pt idx="42">
                  <c:v>0.92964875273068648</c:v>
                </c:pt>
                <c:pt idx="43">
                  <c:v>0.93629430082113174</c:v>
                </c:pt>
                <c:pt idx="44">
                  <c:v>0.94230269064214744</c:v>
                </c:pt>
                <c:pt idx="45">
                  <c:v>0.94816319635235435</c:v>
                </c:pt>
                <c:pt idx="46">
                  <c:v>0.95286125980664116</c:v>
                </c:pt>
                <c:pt idx="47">
                  <c:v>0.9572086025415717</c:v>
                </c:pt>
                <c:pt idx="48">
                  <c:v>0.96093055584404563</c:v>
                </c:pt>
                <c:pt idx="49">
                  <c:v>0.9645203793354038</c:v>
                </c:pt>
                <c:pt idx="50">
                  <c:v>0.96809604271215699</c:v>
                </c:pt>
                <c:pt idx="51">
                  <c:v>0.97162167680982547</c:v>
                </c:pt>
                <c:pt idx="52">
                  <c:v>0.97461372778098665</c:v>
                </c:pt>
                <c:pt idx="53">
                  <c:v>0.97730841634544219</c:v>
                </c:pt>
                <c:pt idx="54">
                  <c:v>0.97978188828504176</c:v>
                </c:pt>
                <c:pt idx="55">
                  <c:v>0.98212248020877824</c:v>
                </c:pt>
                <c:pt idx="56">
                  <c:v>0.98435710571196045</c:v>
                </c:pt>
                <c:pt idx="57">
                  <c:v>0.98659060590802172</c:v>
                </c:pt>
                <c:pt idx="58">
                  <c:v>0.98844759709653873</c:v>
                </c:pt>
                <c:pt idx="59">
                  <c:v>0.99011558357653628</c:v>
                </c:pt>
                <c:pt idx="60">
                  <c:v>0.99173349388965248</c:v>
                </c:pt>
                <c:pt idx="61">
                  <c:v>0.99300330920002788</c:v>
                </c:pt>
                <c:pt idx="62">
                  <c:v>0.9940589410550531</c:v>
                </c:pt>
                <c:pt idx="63">
                  <c:v>0.99503622340178355</c:v>
                </c:pt>
                <c:pt idx="64">
                  <c:v>0.99596239805010511</c:v>
                </c:pt>
                <c:pt idx="65">
                  <c:v>0.9968725839597502</c:v>
                </c:pt>
                <c:pt idx="66">
                  <c:v>0.9975664764631933</c:v>
                </c:pt>
                <c:pt idx="67">
                  <c:v>0.99811829894261905</c:v>
                </c:pt>
                <c:pt idx="68">
                  <c:v>0.99845054587007342</c:v>
                </c:pt>
                <c:pt idx="69">
                  <c:v>0.99868479730241355</c:v>
                </c:pt>
                <c:pt idx="70">
                  <c:v>0.99889011896418645</c:v>
                </c:pt>
                <c:pt idx="71">
                  <c:v>0.99908812612967335</c:v>
                </c:pt>
                <c:pt idx="72">
                  <c:v>0.99925987612900524</c:v>
                </c:pt>
                <c:pt idx="73">
                  <c:v>0.99943078214799641</c:v>
                </c:pt>
                <c:pt idx="74">
                  <c:v>0.99954157801161125</c:v>
                </c:pt>
                <c:pt idx="75">
                  <c:v>0.99964974815861063</c:v>
                </c:pt>
                <c:pt idx="76">
                  <c:v>0.99970610729025056</c:v>
                </c:pt>
                <c:pt idx="77">
                  <c:v>0.9997594656029013</c:v>
                </c:pt>
                <c:pt idx="78">
                  <c:v>0.99978398792057821</c:v>
                </c:pt>
                <c:pt idx="79">
                  <c:v>0.99980771314571115</c:v>
                </c:pt>
                <c:pt idx="80">
                  <c:v>0.99982862510304171</c:v>
                </c:pt>
                <c:pt idx="81">
                  <c:v>0.99984789598748758</c:v>
                </c:pt>
                <c:pt idx="82">
                  <c:v>0.99986472870650478</c:v>
                </c:pt>
                <c:pt idx="83">
                  <c:v>0.99988024856721425</c:v>
                </c:pt>
                <c:pt idx="84">
                  <c:v>0.99989478378419294</c:v>
                </c:pt>
                <c:pt idx="85">
                  <c:v>0.99990598996760549</c:v>
                </c:pt>
                <c:pt idx="86">
                  <c:v>0.99991593018050706</c:v>
                </c:pt>
                <c:pt idx="87">
                  <c:v>0.99992563595442507</c:v>
                </c:pt>
                <c:pt idx="88">
                  <c:v>0.99993388820664519</c:v>
                </c:pt>
                <c:pt idx="89">
                  <c:v>0.99994181224428835</c:v>
                </c:pt>
                <c:pt idx="90">
                  <c:v>0.99994818898464033</c:v>
                </c:pt>
                <c:pt idx="91">
                  <c:v>0.99995442506160215</c:v>
                </c:pt>
                <c:pt idx="92">
                  <c:v>0.99995958271923979</c:v>
                </c:pt>
                <c:pt idx="93">
                  <c:v>0.99996267731382238</c:v>
                </c:pt>
                <c:pt idx="94">
                  <c:v>0.99996539680603125</c:v>
                </c:pt>
                <c:pt idx="95">
                  <c:v>0.99996802252264672</c:v>
                </c:pt>
                <c:pt idx="96">
                  <c:v>0.99997055446366878</c:v>
                </c:pt>
                <c:pt idx="97">
                  <c:v>0.9999728519657074</c:v>
                </c:pt>
                <c:pt idx="98">
                  <c:v>0.99997491502876246</c:v>
                </c:pt>
                <c:pt idx="99">
                  <c:v>0.99997688431622411</c:v>
                </c:pt>
                <c:pt idx="100">
                  <c:v>0.99997852538910881</c:v>
                </c:pt>
                <c:pt idx="101">
                  <c:v>0.9999800726864001</c:v>
                </c:pt>
                <c:pt idx="102">
                  <c:v>0.99998147932030124</c:v>
                </c:pt>
                <c:pt idx="103">
                  <c:v>0.99998269840301557</c:v>
                </c:pt>
                <c:pt idx="104">
                  <c:v>0.99998387059793326</c:v>
                </c:pt>
                <c:pt idx="105">
                  <c:v>0.99998494901725743</c:v>
                </c:pt>
                <c:pt idx="106">
                  <c:v>0.99998598054878496</c:v>
                </c:pt>
                <c:pt idx="107">
                  <c:v>0.99998691830471909</c:v>
                </c:pt>
                <c:pt idx="108">
                  <c:v>0.99998780917285646</c:v>
                </c:pt>
                <c:pt idx="109">
                  <c:v>0.99998870004099383</c:v>
                </c:pt>
                <c:pt idx="110">
                  <c:v>0.9999894033579444</c:v>
                </c:pt>
                <c:pt idx="111">
                  <c:v>0.99999010667489496</c:v>
                </c:pt>
                <c:pt idx="112">
                  <c:v>0.99999080999184553</c:v>
                </c:pt>
                <c:pt idx="113">
                  <c:v>0.9999915133087961</c:v>
                </c:pt>
                <c:pt idx="114">
                  <c:v>0.99999221662574667</c:v>
                </c:pt>
                <c:pt idx="115">
                  <c:v>0.99999287305490059</c:v>
                </c:pt>
                <c:pt idx="116">
                  <c:v>0.99999348259625775</c:v>
                </c:pt>
                <c:pt idx="117">
                  <c:v>0.99999409213761492</c:v>
                </c:pt>
                <c:pt idx="118">
                  <c:v>0.99999465479117533</c:v>
                </c:pt>
                <c:pt idx="119">
                  <c:v>0.99999517055693909</c:v>
                </c:pt>
                <c:pt idx="120">
                  <c:v>0.99999559254710946</c:v>
                </c:pt>
                <c:pt idx="121">
                  <c:v>0.99999601453727982</c:v>
                </c:pt>
                <c:pt idx="122">
                  <c:v>0.99999643652745018</c:v>
                </c:pt>
                <c:pt idx="123">
                  <c:v>0.99999681162982379</c:v>
                </c:pt>
                <c:pt idx="124">
                  <c:v>0.9999971867321974</c:v>
                </c:pt>
                <c:pt idx="125">
                  <c:v>0.999997561834571</c:v>
                </c:pt>
                <c:pt idx="126">
                  <c:v>0.99999789004914796</c:v>
                </c:pt>
                <c:pt idx="127">
                  <c:v>0.99999821826372493</c:v>
                </c:pt>
                <c:pt idx="128">
                  <c:v>0.99999854647830189</c:v>
                </c:pt>
                <c:pt idx="129">
                  <c:v>0.99999887469287885</c:v>
                </c:pt>
                <c:pt idx="130">
                  <c:v>0.99999915601965905</c:v>
                </c:pt>
                <c:pt idx="131">
                  <c:v>0.99999934357084586</c:v>
                </c:pt>
                <c:pt idx="132">
                  <c:v>0.99999948423423601</c:v>
                </c:pt>
                <c:pt idx="133">
                  <c:v>0.99999962489762617</c:v>
                </c:pt>
                <c:pt idx="134">
                  <c:v>0.99999971867321957</c:v>
                </c:pt>
                <c:pt idx="135">
                  <c:v>0.99999981244881297</c:v>
                </c:pt>
                <c:pt idx="136">
                  <c:v>0.99999990622440638</c:v>
                </c:pt>
                <c:pt idx="137">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8</c:f>
              <c:strCache>
                <c:ptCount val="217"/>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Gillette</c:v>
                </c:pt>
                <c:pt idx="19">
                  <c:v>Schick</c:v>
                </c:pt>
                <c:pt idx="20">
                  <c:v>Gillette</c:v>
                </c:pt>
                <c:pt idx="21">
                  <c:v>Bic</c:v>
                </c:pt>
                <c:pt idx="22">
                  <c:v>Dollar Shav</c:v>
                </c:pt>
                <c:pt idx="23">
                  <c:v>Gillette</c:v>
                </c:pt>
                <c:pt idx="24">
                  <c:v>Dollar Shav</c:v>
                </c:pt>
                <c:pt idx="25">
                  <c:v>Equate</c:v>
                </c:pt>
                <c:pt idx="26">
                  <c:v>Gillette</c:v>
                </c:pt>
                <c:pt idx="27">
                  <c:v>Bic</c:v>
                </c:pt>
                <c:pt idx="28">
                  <c:v>Gillette</c:v>
                </c:pt>
                <c:pt idx="29">
                  <c:v>Schick</c:v>
                </c:pt>
                <c:pt idx="30">
                  <c:v>Harry's</c:v>
                </c:pt>
                <c:pt idx="31">
                  <c:v>Gillette</c:v>
                </c:pt>
                <c:pt idx="32">
                  <c:v>Schick</c:v>
                </c:pt>
                <c:pt idx="33">
                  <c:v>Van Der Hag</c:v>
                </c:pt>
                <c:pt idx="34">
                  <c:v>Bic</c:v>
                </c:pt>
                <c:pt idx="35">
                  <c:v>Dollar Shav</c:v>
                </c:pt>
                <c:pt idx="36">
                  <c:v>Gillette</c:v>
                </c:pt>
                <c:pt idx="37">
                  <c:v>Comfort 3</c:v>
                </c:pt>
                <c:pt idx="38">
                  <c:v>Van Der Hag</c:v>
                </c:pt>
                <c:pt idx="39">
                  <c:v>Gillette</c:v>
                </c:pt>
                <c:pt idx="40">
                  <c:v>Comfort 3</c:v>
                </c:pt>
                <c:pt idx="41">
                  <c:v>Equate</c:v>
                </c:pt>
                <c:pt idx="42">
                  <c:v>Equate</c:v>
                </c:pt>
                <c:pt idx="43">
                  <c:v>Gillette</c:v>
                </c:pt>
                <c:pt idx="44">
                  <c:v>Harry's</c:v>
                </c:pt>
                <c:pt idx="45">
                  <c:v>Gillette</c:v>
                </c:pt>
                <c:pt idx="46">
                  <c:v>Gillette</c:v>
                </c:pt>
                <c:pt idx="47">
                  <c:v>Bic</c:v>
                </c:pt>
                <c:pt idx="48">
                  <c:v>Gillette</c:v>
                </c:pt>
                <c:pt idx="49">
                  <c:v>Schick</c:v>
                </c:pt>
                <c:pt idx="50">
                  <c:v>Gillette</c:v>
                </c:pt>
                <c:pt idx="51">
                  <c:v>Gillette</c:v>
                </c:pt>
                <c:pt idx="52">
                  <c:v>Gillette</c:v>
                </c:pt>
                <c:pt idx="53">
                  <c:v>Harry's</c:v>
                </c:pt>
                <c:pt idx="54">
                  <c:v>Bic</c:v>
                </c:pt>
                <c:pt idx="55">
                  <c:v>Gillette</c:v>
                </c:pt>
                <c:pt idx="56">
                  <c:v>Gillette</c:v>
                </c:pt>
                <c:pt idx="57">
                  <c:v>Gillette</c:v>
                </c:pt>
                <c:pt idx="58">
                  <c:v>Bic</c:v>
                </c:pt>
                <c:pt idx="59">
                  <c:v>Gillette</c:v>
                </c:pt>
                <c:pt idx="60">
                  <c:v>Harry's</c:v>
                </c:pt>
                <c:pt idx="61">
                  <c:v>Gillette</c:v>
                </c:pt>
                <c:pt idx="62">
                  <c:v>Gillette</c:v>
                </c:pt>
                <c:pt idx="63">
                  <c:v>Equate</c:v>
                </c:pt>
                <c:pt idx="64">
                  <c:v>Gillette</c:v>
                </c:pt>
                <c:pt idx="65">
                  <c:v>Gillette</c:v>
                </c:pt>
                <c:pt idx="66">
                  <c:v>Gillette</c:v>
                </c:pt>
                <c:pt idx="67">
                  <c:v>Dollar Shav</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Gillette</c:v>
                </c:pt>
                <c:pt idx="82">
                  <c:v>Schick</c:v>
                </c:pt>
                <c:pt idx="83">
                  <c:v>Harry's</c:v>
                </c:pt>
                <c:pt idx="84">
                  <c:v>Dollar Shav</c:v>
                </c:pt>
                <c:pt idx="85">
                  <c:v>Harry's</c:v>
                </c:pt>
                <c:pt idx="86">
                  <c:v>Gillette</c:v>
                </c:pt>
                <c:pt idx="87">
                  <c:v>Gillette</c:v>
                </c:pt>
                <c:pt idx="88">
                  <c:v>Gillette</c:v>
                </c:pt>
                <c:pt idx="89">
                  <c:v>Dollar Shav</c:v>
                </c:pt>
                <c:pt idx="90">
                  <c:v>All Others</c:v>
                </c:pt>
                <c:pt idx="91">
                  <c:v>Gillette</c:v>
                </c:pt>
                <c:pt idx="92">
                  <c:v>Dollar Shav</c:v>
                </c:pt>
                <c:pt idx="93">
                  <c:v>Schick</c:v>
                </c:pt>
                <c:pt idx="94">
                  <c:v>Schick</c:v>
                </c:pt>
                <c:pt idx="95">
                  <c:v>Harry's</c:v>
                </c:pt>
                <c:pt idx="96">
                  <c:v>Gillette</c:v>
                </c:pt>
                <c:pt idx="97">
                  <c:v>All Others</c:v>
                </c:pt>
                <c:pt idx="98">
                  <c:v>Schick</c:v>
                </c:pt>
                <c:pt idx="99">
                  <c:v>Gillette</c:v>
                </c:pt>
                <c:pt idx="100">
                  <c:v>Gillette</c:v>
                </c:pt>
                <c:pt idx="101">
                  <c:v>Equate</c:v>
                </c:pt>
                <c:pt idx="102">
                  <c:v>Dollar Shav</c:v>
                </c:pt>
                <c:pt idx="103">
                  <c:v>Gillette</c:v>
                </c:pt>
                <c:pt idx="104">
                  <c:v>Harry's</c:v>
                </c:pt>
                <c:pt idx="105">
                  <c:v>Van Der Hag</c:v>
                </c:pt>
                <c:pt idx="106">
                  <c:v>Comfort 3</c:v>
                </c:pt>
                <c:pt idx="107">
                  <c:v>Gillette</c:v>
                </c:pt>
                <c:pt idx="108">
                  <c:v>Gillette</c:v>
                </c:pt>
                <c:pt idx="109">
                  <c:v>Schick</c:v>
                </c:pt>
                <c:pt idx="110">
                  <c:v>Gillette</c:v>
                </c:pt>
                <c:pt idx="111">
                  <c:v>Dollar Shav</c:v>
                </c:pt>
                <c:pt idx="112">
                  <c:v>Gillette</c:v>
                </c:pt>
                <c:pt idx="113">
                  <c:v>Gillette</c:v>
                </c:pt>
                <c:pt idx="114">
                  <c:v>Equate</c:v>
                </c:pt>
                <c:pt idx="115">
                  <c:v>Schick</c:v>
                </c:pt>
                <c:pt idx="116">
                  <c:v>Cremo</c:v>
                </c:pt>
                <c:pt idx="117">
                  <c:v>Gillette</c:v>
                </c:pt>
                <c:pt idx="118">
                  <c:v>Bic</c:v>
                </c:pt>
                <c:pt idx="119">
                  <c:v>Gillette</c:v>
                </c:pt>
                <c:pt idx="120">
                  <c:v>Schick</c:v>
                </c:pt>
                <c:pt idx="121">
                  <c:v>Gillette</c:v>
                </c:pt>
                <c:pt idx="122">
                  <c:v>Gillette</c:v>
                </c:pt>
                <c:pt idx="123">
                  <c:v>Cremo</c:v>
                </c:pt>
                <c:pt idx="124">
                  <c:v>Gillette</c:v>
                </c:pt>
                <c:pt idx="125">
                  <c:v>Schick</c:v>
                </c:pt>
                <c:pt idx="126">
                  <c:v>Harry's</c:v>
                </c:pt>
                <c:pt idx="127">
                  <c:v>Schick</c:v>
                </c:pt>
                <c:pt idx="128">
                  <c:v>Schick</c:v>
                </c:pt>
                <c:pt idx="129">
                  <c:v>Dollar Shav</c:v>
                </c:pt>
                <c:pt idx="130">
                  <c:v>Unilever: A</c:v>
                </c:pt>
                <c:pt idx="131">
                  <c:v>Schick</c:v>
                </c:pt>
                <c:pt idx="132">
                  <c:v>Gillette</c:v>
                </c:pt>
                <c:pt idx="133">
                  <c:v>Schick</c:v>
                </c:pt>
                <c:pt idx="134">
                  <c:v>Schick</c:v>
                </c:pt>
                <c:pt idx="135">
                  <c:v>Schick</c:v>
                </c:pt>
                <c:pt idx="136">
                  <c:v>Bic</c:v>
                </c:pt>
                <c:pt idx="137">
                  <c:v>Gillette</c:v>
                </c:pt>
                <c:pt idx="138">
                  <c:v>Gillette</c:v>
                </c:pt>
                <c:pt idx="139">
                  <c:v>Bic</c:v>
                </c:pt>
                <c:pt idx="140">
                  <c:v>Equate</c:v>
                </c:pt>
                <c:pt idx="141">
                  <c:v>Schick</c:v>
                </c:pt>
                <c:pt idx="142">
                  <c:v>Schick</c:v>
                </c:pt>
                <c:pt idx="143">
                  <c:v>Schick</c:v>
                </c:pt>
                <c:pt idx="144">
                  <c:v>Dollar Shav</c:v>
                </c:pt>
                <c:pt idx="145">
                  <c:v>Gillette</c:v>
                </c:pt>
                <c:pt idx="146">
                  <c:v>Gillette</c:v>
                </c:pt>
                <c:pt idx="147">
                  <c:v>Edgewell Pe</c:v>
                </c:pt>
                <c:pt idx="148">
                  <c:v>Gillette</c:v>
                </c:pt>
                <c:pt idx="149">
                  <c:v>Gillette</c:v>
                </c:pt>
                <c:pt idx="150">
                  <c:v>Van Der Hag</c:v>
                </c:pt>
                <c:pt idx="151">
                  <c:v>Gillette</c:v>
                </c:pt>
                <c:pt idx="152">
                  <c:v>Gillette</c:v>
                </c:pt>
                <c:pt idx="153">
                  <c:v>Van Der Hag</c:v>
                </c:pt>
                <c:pt idx="154">
                  <c:v>Bic</c:v>
                </c:pt>
                <c:pt idx="155">
                  <c:v>Gillette</c:v>
                </c:pt>
                <c:pt idx="156">
                  <c:v>Gillette</c:v>
                </c:pt>
                <c:pt idx="157">
                  <c:v>Schick</c:v>
                </c:pt>
                <c:pt idx="158">
                  <c:v>Equate</c:v>
                </c:pt>
                <c:pt idx="159">
                  <c:v>Gillette</c:v>
                </c:pt>
                <c:pt idx="160">
                  <c:v>Gillette</c:v>
                </c:pt>
                <c:pt idx="161">
                  <c:v>Schick</c:v>
                </c:pt>
                <c:pt idx="162">
                  <c:v>Dollar Shav</c:v>
                </c:pt>
                <c:pt idx="163">
                  <c:v>Gillette</c:v>
                </c:pt>
                <c:pt idx="164">
                  <c:v>Gillette</c:v>
                </c:pt>
                <c:pt idx="165">
                  <c:v>Equate</c:v>
                </c:pt>
                <c:pt idx="166">
                  <c:v>Bic</c:v>
                </c:pt>
                <c:pt idx="167">
                  <c:v>Gillette</c:v>
                </c:pt>
                <c:pt idx="168">
                  <c:v>Gillette</c:v>
                </c:pt>
                <c:pt idx="169">
                  <c:v>Gillette</c:v>
                </c:pt>
                <c:pt idx="170">
                  <c:v>Equate</c:v>
                </c:pt>
                <c:pt idx="171">
                  <c:v>Edgewell Pe</c:v>
                </c:pt>
                <c:pt idx="172">
                  <c:v>Schick</c:v>
                </c:pt>
                <c:pt idx="173">
                  <c:v>Gillette</c:v>
                </c:pt>
                <c:pt idx="174">
                  <c:v>Schick</c:v>
                </c:pt>
                <c:pt idx="175">
                  <c:v>Schick</c:v>
                </c:pt>
                <c:pt idx="176">
                  <c:v>All Others</c:v>
                </c:pt>
                <c:pt idx="177">
                  <c:v>Gillette</c:v>
                </c:pt>
                <c:pt idx="178">
                  <c:v>Schick</c:v>
                </c:pt>
                <c:pt idx="179">
                  <c:v>Gillette</c:v>
                </c:pt>
                <c:pt idx="180">
                  <c:v>Gillette</c:v>
                </c:pt>
                <c:pt idx="181">
                  <c:v>Harry's</c:v>
                </c:pt>
                <c:pt idx="182">
                  <c:v>Schick</c:v>
                </c:pt>
                <c:pt idx="183">
                  <c:v>Schick</c:v>
                </c:pt>
                <c:pt idx="184">
                  <c:v>Schick</c:v>
                </c:pt>
                <c:pt idx="185">
                  <c:v>Equate</c:v>
                </c:pt>
                <c:pt idx="186">
                  <c:v>Gillette</c:v>
                </c:pt>
                <c:pt idx="187">
                  <c:v>Gillette</c:v>
                </c:pt>
                <c:pt idx="188">
                  <c:v>Schick</c:v>
                </c:pt>
                <c:pt idx="189">
                  <c:v>Gillette</c:v>
                </c:pt>
                <c:pt idx="190">
                  <c:v>Gillette</c:v>
                </c:pt>
                <c:pt idx="191">
                  <c:v>Schick</c:v>
                </c:pt>
                <c:pt idx="192">
                  <c:v>Schick</c:v>
                </c:pt>
                <c:pt idx="193">
                  <c:v>Gillette</c:v>
                </c:pt>
                <c:pt idx="194">
                  <c:v>Dollar Shav</c:v>
                </c:pt>
                <c:pt idx="195">
                  <c:v>Equate</c:v>
                </c:pt>
                <c:pt idx="196">
                  <c:v>Gillette</c:v>
                </c:pt>
                <c:pt idx="197">
                  <c:v>Gillette</c:v>
                </c:pt>
                <c:pt idx="198">
                  <c:v>Equate</c:v>
                </c:pt>
                <c:pt idx="199">
                  <c:v>Personna</c:v>
                </c:pt>
                <c:pt idx="200">
                  <c:v>Edgewell Pe</c:v>
                </c:pt>
                <c:pt idx="201">
                  <c:v>Unilever: A</c:v>
                </c:pt>
                <c:pt idx="202">
                  <c:v>Dollar Shav</c:v>
                </c:pt>
                <c:pt idx="203">
                  <c:v>Schick</c:v>
                </c:pt>
                <c:pt idx="204">
                  <c:v>Schick</c:v>
                </c:pt>
                <c:pt idx="205">
                  <c:v>Equate</c:v>
                </c:pt>
                <c:pt idx="206">
                  <c:v>Gillette</c:v>
                </c:pt>
                <c:pt idx="207">
                  <c:v>Gillette</c:v>
                </c:pt>
                <c:pt idx="208">
                  <c:v>Gillette</c:v>
                </c:pt>
                <c:pt idx="209">
                  <c:v>Procter &amp; G</c:v>
                </c:pt>
                <c:pt idx="210">
                  <c:v>Schick</c:v>
                </c:pt>
                <c:pt idx="211">
                  <c:v>Gillette</c:v>
                </c:pt>
                <c:pt idx="212">
                  <c:v>All Others</c:v>
                </c:pt>
                <c:pt idx="213">
                  <c:v>Gillette</c:v>
                </c:pt>
                <c:pt idx="214">
                  <c:v>Gillette</c:v>
                </c:pt>
                <c:pt idx="215">
                  <c:v>Private Lab</c:v>
                </c:pt>
                <c:pt idx="216">
                  <c:v>Schick</c:v>
                </c:pt>
              </c:strCache>
            </c:strRef>
          </c:cat>
          <c:val>
            <c:numRef>
              <c:f>Sheet1!$B$2:$B$218</c:f>
              <c:numCache>
                <c:formatCode>General</c:formatCode>
                <c:ptCount val="217"/>
                <c:pt idx="0">
                  <c:v>0.99</c:v>
                </c:pt>
                <c:pt idx="1">
                  <c:v>0.99</c:v>
                </c:pt>
                <c:pt idx="2">
                  <c:v>0.99</c:v>
                </c:pt>
                <c:pt idx="3">
                  <c:v>0.94</c:v>
                </c:pt>
                <c:pt idx="4">
                  <c:v>0.94</c:v>
                </c:pt>
                <c:pt idx="5">
                  <c:v>0.88</c:v>
                </c:pt>
                <c:pt idx="6">
                  <c:v>0.65</c:v>
                </c:pt>
                <c:pt idx="7">
                  <c:v>0.96</c:v>
                </c:pt>
                <c:pt idx="8">
                  <c:v>0.84</c:v>
                </c:pt>
                <c:pt idx="9">
                  <c:v>0.86</c:v>
                </c:pt>
                <c:pt idx="10">
                  <c:v>0.89</c:v>
                </c:pt>
                <c:pt idx="11">
                  <c:v>0.81</c:v>
                </c:pt>
                <c:pt idx="12">
                  <c:v>0.91</c:v>
                </c:pt>
                <c:pt idx="13">
                  <c:v>0.94</c:v>
                </c:pt>
                <c:pt idx="14">
                  <c:v>0.66</c:v>
                </c:pt>
                <c:pt idx="15">
                  <c:v>0.69</c:v>
                </c:pt>
                <c:pt idx="16">
                  <c:v>0.75</c:v>
                </c:pt>
                <c:pt idx="17">
                  <c:v>0.96</c:v>
                </c:pt>
                <c:pt idx="18">
                  <c:v>0.66</c:v>
                </c:pt>
                <c:pt idx="19">
                  <c:v>0.8</c:v>
                </c:pt>
                <c:pt idx="20">
                  <c:v>0.76</c:v>
                </c:pt>
                <c:pt idx="21">
                  <c:v>0.84</c:v>
                </c:pt>
                <c:pt idx="22">
                  <c:v>0.88</c:v>
                </c:pt>
                <c:pt idx="23">
                  <c:v>0.46</c:v>
                </c:pt>
                <c:pt idx="24">
                  <c:v>0.91</c:v>
                </c:pt>
                <c:pt idx="25">
                  <c:v>0.86</c:v>
                </c:pt>
                <c:pt idx="26">
                  <c:v>0.62</c:v>
                </c:pt>
                <c:pt idx="27">
                  <c:v>0.64</c:v>
                </c:pt>
                <c:pt idx="28">
                  <c:v>0.56999999999999995</c:v>
                </c:pt>
                <c:pt idx="29">
                  <c:v>0.87</c:v>
                </c:pt>
                <c:pt idx="30">
                  <c:v>0.86</c:v>
                </c:pt>
                <c:pt idx="31">
                  <c:v>0.67</c:v>
                </c:pt>
                <c:pt idx="32">
                  <c:v>0.49</c:v>
                </c:pt>
                <c:pt idx="33">
                  <c:v>0.65</c:v>
                </c:pt>
                <c:pt idx="34">
                  <c:v>0.91</c:v>
                </c:pt>
                <c:pt idx="35">
                  <c:v>0.59</c:v>
                </c:pt>
                <c:pt idx="36">
                  <c:v>0.64</c:v>
                </c:pt>
                <c:pt idx="37">
                  <c:v>0.89</c:v>
                </c:pt>
                <c:pt idx="38">
                  <c:v>0.93</c:v>
                </c:pt>
                <c:pt idx="39">
                  <c:v>0.56999999999999995</c:v>
                </c:pt>
                <c:pt idx="40">
                  <c:v>0.66</c:v>
                </c:pt>
                <c:pt idx="41">
                  <c:v>0.77</c:v>
                </c:pt>
                <c:pt idx="42">
                  <c:v>0.6</c:v>
                </c:pt>
                <c:pt idx="43">
                  <c:v>0.68</c:v>
                </c:pt>
                <c:pt idx="44">
                  <c:v>0.57999999999999996</c:v>
                </c:pt>
                <c:pt idx="45">
                  <c:v>0.35</c:v>
                </c:pt>
                <c:pt idx="46">
                  <c:v>0.89</c:v>
                </c:pt>
                <c:pt idx="47">
                  <c:v>0.75</c:v>
                </c:pt>
                <c:pt idx="48">
                  <c:v>0.46</c:v>
                </c:pt>
                <c:pt idx="49">
                  <c:v>0.91</c:v>
                </c:pt>
                <c:pt idx="50">
                  <c:v>0.41</c:v>
                </c:pt>
                <c:pt idx="51">
                  <c:v>0.49</c:v>
                </c:pt>
                <c:pt idx="52">
                  <c:v>0.21</c:v>
                </c:pt>
                <c:pt idx="53">
                  <c:v>0.26</c:v>
                </c:pt>
                <c:pt idx="54">
                  <c:v>0.6</c:v>
                </c:pt>
                <c:pt idx="55">
                  <c:v>0.47</c:v>
                </c:pt>
                <c:pt idx="56">
                  <c:v>0.6</c:v>
                </c:pt>
                <c:pt idx="57">
                  <c:v>0.31</c:v>
                </c:pt>
                <c:pt idx="58">
                  <c:v>0.83</c:v>
                </c:pt>
                <c:pt idx="59">
                  <c:v>0.84</c:v>
                </c:pt>
                <c:pt idx="60">
                  <c:v>0.74</c:v>
                </c:pt>
                <c:pt idx="61">
                  <c:v>0.17</c:v>
                </c:pt>
                <c:pt idx="62">
                  <c:v>0.64</c:v>
                </c:pt>
                <c:pt idx="63">
                  <c:v>0.71</c:v>
                </c:pt>
                <c:pt idx="64">
                  <c:v>0.38</c:v>
                </c:pt>
                <c:pt idx="65">
                  <c:v>0.46</c:v>
                </c:pt>
                <c:pt idx="66">
                  <c:v>0.33</c:v>
                </c:pt>
                <c:pt idx="67">
                  <c:v>0.65</c:v>
                </c:pt>
                <c:pt idx="68">
                  <c:v>0.73</c:v>
                </c:pt>
                <c:pt idx="69">
                  <c:v>0.35</c:v>
                </c:pt>
                <c:pt idx="70">
                  <c:v>0.42</c:v>
                </c:pt>
                <c:pt idx="71">
                  <c:v>0.18</c:v>
                </c:pt>
                <c:pt idx="72">
                  <c:v>0.19</c:v>
                </c:pt>
                <c:pt idx="73">
                  <c:v>0.06</c:v>
                </c:pt>
                <c:pt idx="74">
                  <c:v>0.05</c:v>
                </c:pt>
                <c:pt idx="75">
                  <c:v>0.13</c:v>
                </c:pt>
                <c:pt idx="76">
                  <c:v>7.0000000000000007E-2</c:v>
                </c:pt>
                <c:pt idx="77">
                  <c:v>0.04</c:v>
                </c:pt>
                <c:pt idx="78">
                  <c:v>0.02</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01</c:v>
                </c:pt>
                <c:pt idx="102">
                  <c:v>0.01</c:v>
                </c:pt>
                <c:pt idx="103">
                  <c:v>0.01</c:v>
                </c:pt>
                <c:pt idx="104">
                  <c:v>0.01</c:v>
                </c:pt>
                <c:pt idx="105">
                  <c:v>0.01</c:v>
                </c:pt>
                <c:pt idx="106">
                  <c:v>0.01</c:v>
                </c:pt>
                <c:pt idx="107">
                  <c:v>0.01</c:v>
                </c:pt>
                <c:pt idx="108">
                  <c:v>0.01</c:v>
                </c:pt>
                <c:pt idx="109">
                  <c:v>0.01</c:v>
                </c:pt>
                <c:pt idx="110">
                  <c:v>0.01</c:v>
                </c:pt>
                <c:pt idx="111">
                  <c:v>0.01</c:v>
                </c:pt>
                <c:pt idx="112">
                  <c:v>0.01</c:v>
                </c:pt>
                <c:pt idx="113">
                  <c:v>0.01</c:v>
                </c:pt>
                <c:pt idx="114">
                  <c:v>0.01</c:v>
                </c:pt>
                <c:pt idx="115">
                  <c:v>0.01</c:v>
                </c:pt>
                <c:pt idx="116">
                  <c:v>0.01</c:v>
                </c:pt>
                <c:pt idx="117">
                  <c:v>0.01</c:v>
                </c:pt>
                <c:pt idx="118">
                  <c:v>0.01</c:v>
                </c:pt>
                <c:pt idx="119">
                  <c:v>0.01</c:v>
                </c:pt>
                <c:pt idx="120">
                  <c:v>0.01</c:v>
                </c:pt>
                <c:pt idx="121">
                  <c:v>0.01</c:v>
                </c:pt>
                <c:pt idx="122">
                  <c:v>0.01</c:v>
                </c:pt>
                <c:pt idx="123">
                  <c:v>0.01</c:v>
                </c:pt>
                <c:pt idx="124">
                  <c:v>0.01</c:v>
                </c:pt>
                <c:pt idx="125">
                  <c:v>0.01</c:v>
                </c:pt>
                <c:pt idx="126">
                  <c:v>0.01</c:v>
                </c:pt>
                <c:pt idx="127">
                  <c:v>0.01</c:v>
                </c:pt>
                <c:pt idx="128">
                  <c:v>0.01</c:v>
                </c:pt>
                <c:pt idx="129">
                  <c:v>0.01</c:v>
                </c:pt>
                <c:pt idx="130">
                  <c:v>0.01</c:v>
                </c:pt>
                <c:pt idx="131">
                  <c:v>0.01</c:v>
                </c:pt>
                <c:pt idx="132">
                  <c:v>0.01</c:v>
                </c:pt>
                <c:pt idx="133">
                  <c:v>0.01</c:v>
                </c:pt>
                <c:pt idx="134">
                  <c:v>0.01</c:v>
                </c:pt>
                <c:pt idx="135">
                  <c:v>0.01</c:v>
                </c:pt>
                <c:pt idx="136">
                  <c:v>0.01</c:v>
                </c:pt>
                <c:pt idx="137">
                  <c:v>0.01</c:v>
                </c:pt>
                <c:pt idx="138">
                  <c:v>0.01</c:v>
                </c:pt>
                <c:pt idx="139">
                  <c:v>0.01</c:v>
                </c:pt>
                <c:pt idx="140">
                  <c:v>0.01</c:v>
                </c:pt>
                <c:pt idx="141">
                  <c:v>0.01</c:v>
                </c:pt>
                <c:pt idx="142">
                  <c:v>0.01</c:v>
                </c:pt>
                <c:pt idx="143">
                  <c:v>0.01</c:v>
                </c:pt>
                <c:pt idx="144">
                  <c:v>0.01</c:v>
                </c:pt>
                <c:pt idx="145">
                  <c:v>0.01</c:v>
                </c:pt>
                <c:pt idx="146">
                  <c:v>0.01</c:v>
                </c:pt>
                <c:pt idx="147">
                  <c:v>0.01</c:v>
                </c:pt>
                <c:pt idx="148">
                  <c:v>0.01</c:v>
                </c:pt>
                <c:pt idx="149">
                  <c:v>0.01</c:v>
                </c:pt>
                <c:pt idx="150">
                  <c:v>0.01</c:v>
                </c:pt>
                <c:pt idx="151">
                  <c:v>0.01</c:v>
                </c:pt>
                <c:pt idx="152">
                  <c:v>0.01</c:v>
                </c:pt>
                <c:pt idx="153">
                  <c:v>0.01</c:v>
                </c:pt>
                <c:pt idx="154">
                  <c:v>0.01</c:v>
                </c:pt>
                <c:pt idx="155">
                  <c:v>0.01</c:v>
                </c:pt>
                <c:pt idx="156">
                  <c:v>0.01</c:v>
                </c:pt>
                <c:pt idx="157">
                  <c:v>0.01</c:v>
                </c:pt>
                <c:pt idx="158">
                  <c:v>0.01</c:v>
                </c:pt>
                <c:pt idx="159">
                  <c:v>0.01</c:v>
                </c:pt>
                <c:pt idx="160">
                  <c:v>0.01</c:v>
                </c:pt>
                <c:pt idx="161">
                  <c:v>0.01</c:v>
                </c:pt>
                <c:pt idx="162">
                  <c:v>0.01</c:v>
                </c:pt>
                <c:pt idx="163">
                  <c:v>0.01</c:v>
                </c:pt>
                <c:pt idx="164">
                  <c:v>0.01</c:v>
                </c:pt>
                <c:pt idx="165">
                  <c:v>0.01</c:v>
                </c:pt>
                <c:pt idx="166">
                  <c:v>0.01</c:v>
                </c:pt>
                <c:pt idx="167">
                  <c:v>0.01</c:v>
                </c:pt>
                <c:pt idx="168">
                  <c:v>0.01</c:v>
                </c:pt>
                <c:pt idx="169">
                  <c:v>0.01</c:v>
                </c:pt>
                <c:pt idx="170">
                  <c:v>0.01</c:v>
                </c:pt>
                <c:pt idx="171">
                  <c:v>0.01</c:v>
                </c:pt>
                <c:pt idx="172">
                  <c:v>0.01</c:v>
                </c:pt>
                <c:pt idx="173">
                  <c:v>0.01</c:v>
                </c:pt>
                <c:pt idx="174">
                  <c:v>0.01</c:v>
                </c:pt>
                <c:pt idx="175">
                  <c:v>0.01</c:v>
                </c:pt>
                <c:pt idx="176">
                  <c:v>0.01</c:v>
                </c:pt>
                <c:pt idx="177">
                  <c:v>0.01</c:v>
                </c:pt>
                <c:pt idx="178">
                  <c:v>0.01</c:v>
                </c:pt>
                <c:pt idx="179">
                  <c:v>0.01</c:v>
                </c:pt>
                <c:pt idx="180">
                  <c:v>0.01</c:v>
                </c:pt>
                <c:pt idx="181">
                  <c:v>0.01</c:v>
                </c:pt>
                <c:pt idx="182">
                  <c:v>0.01</c:v>
                </c:pt>
                <c:pt idx="183">
                  <c:v>0.01</c:v>
                </c:pt>
                <c:pt idx="184">
                  <c:v>0.01</c:v>
                </c:pt>
                <c:pt idx="185">
                  <c:v>0.01</c:v>
                </c:pt>
                <c:pt idx="186">
                  <c:v>0.01</c:v>
                </c:pt>
                <c:pt idx="187">
                  <c:v>0.01</c:v>
                </c:pt>
                <c:pt idx="188">
                  <c:v>0.01</c:v>
                </c:pt>
                <c:pt idx="189">
                  <c:v>0.01</c:v>
                </c:pt>
                <c:pt idx="190">
                  <c:v>0.01</c:v>
                </c:pt>
                <c:pt idx="191">
                  <c:v>0.01</c:v>
                </c:pt>
                <c:pt idx="192">
                  <c:v>0.01</c:v>
                </c:pt>
                <c:pt idx="193">
                  <c:v>0.01</c:v>
                </c:pt>
                <c:pt idx="194">
                  <c:v>0.01</c:v>
                </c:pt>
                <c:pt idx="195">
                  <c:v>0.01</c:v>
                </c:pt>
                <c:pt idx="196">
                  <c:v>0.01</c:v>
                </c:pt>
                <c:pt idx="197">
                  <c:v>0.01</c:v>
                </c:pt>
                <c:pt idx="198">
                  <c:v>0.01</c:v>
                </c:pt>
                <c:pt idx="199">
                  <c:v>0.01</c:v>
                </c:pt>
                <c:pt idx="200">
                  <c:v>0.01</c:v>
                </c:pt>
                <c:pt idx="201">
                  <c:v>0.01</c:v>
                </c:pt>
                <c:pt idx="202">
                  <c:v>0.01</c:v>
                </c:pt>
                <c:pt idx="203">
                  <c:v>0.01</c:v>
                </c:pt>
                <c:pt idx="204">
                  <c:v>0.01</c:v>
                </c:pt>
                <c:pt idx="205">
                  <c:v>0.01</c:v>
                </c:pt>
                <c:pt idx="206">
                  <c:v>0.01</c:v>
                </c:pt>
                <c:pt idx="207">
                  <c:v>0.01</c:v>
                </c:pt>
                <c:pt idx="208">
                  <c:v>0.01</c:v>
                </c:pt>
                <c:pt idx="209">
                  <c:v>0.01</c:v>
                </c:pt>
                <c:pt idx="210">
                  <c:v>0.01</c:v>
                </c:pt>
                <c:pt idx="211">
                  <c:v>0.01</c:v>
                </c:pt>
                <c:pt idx="212">
                  <c:v>0.01</c:v>
                </c:pt>
                <c:pt idx="213">
                  <c:v>0.01</c:v>
                </c:pt>
                <c:pt idx="214">
                  <c:v>0.01</c:v>
                </c:pt>
                <c:pt idx="215">
                  <c:v>0.01</c:v>
                </c:pt>
                <c:pt idx="21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9508-4416-A596-C7E024946B21}"/>
              </c:ext>
            </c:extLst>
          </c:dPt>
          <c:dPt>
            <c:idx val="211"/>
            <c:invertIfNegative val="1"/>
            <c:bubble3D val="0"/>
            <c:spPr>
              <a:solidFill>
                <a:srgbClr val="AEABAB"/>
              </a:solidFill>
            </c:spPr>
            <c:extLst>
              <c:ext xmlns:c16="http://schemas.microsoft.com/office/drawing/2014/chart" uri="{C3380CC4-5D6E-409C-BE32-E72D297353CC}">
                <c16:uniqueId val="{000001A9-9508-4416-A596-C7E024946B21}"/>
              </c:ext>
            </c:extLst>
          </c:dPt>
          <c:dPt>
            <c:idx val="212"/>
            <c:invertIfNegative val="1"/>
            <c:bubble3D val="0"/>
            <c:spPr>
              <a:solidFill>
                <a:srgbClr val="AEABAB"/>
              </a:solidFill>
            </c:spPr>
            <c:extLst>
              <c:ext xmlns:c16="http://schemas.microsoft.com/office/drawing/2014/chart" uri="{C3380CC4-5D6E-409C-BE32-E72D297353CC}">
                <c16:uniqueId val="{000001AB-9508-4416-A596-C7E024946B21}"/>
              </c:ext>
            </c:extLst>
          </c:dPt>
          <c:dPt>
            <c:idx val="213"/>
            <c:invertIfNegative val="1"/>
            <c:bubble3D val="0"/>
            <c:spPr>
              <a:solidFill>
                <a:srgbClr val="AEABAB"/>
              </a:solidFill>
            </c:spPr>
            <c:extLst>
              <c:ext xmlns:c16="http://schemas.microsoft.com/office/drawing/2014/chart" uri="{C3380CC4-5D6E-409C-BE32-E72D297353CC}">
                <c16:uniqueId val="{000001AD-9508-4416-A596-C7E024946B21}"/>
              </c:ext>
            </c:extLst>
          </c:dPt>
          <c:dPt>
            <c:idx val="214"/>
            <c:invertIfNegative val="1"/>
            <c:bubble3D val="0"/>
            <c:spPr>
              <a:solidFill>
                <a:srgbClr val="AEABAB"/>
              </a:solidFill>
            </c:spPr>
            <c:extLst>
              <c:ext xmlns:c16="http://schemas.microsoft.com/office/drawing/2014/chart" uri="{C3380CC4-5D6E-409C-BE32-E72D297353CC}">
                <c16:uniqueId val="{000001AF-9508-4416-A596-C7E024946B21}"/>
              </c:ext>
            </c:extLst>
          </c:dPt>
          <c:dPt>
            <c:idx val="215"/>
            <c:invertIfNegative val="1"/>
            <c:bubble3D val="0"/>
            <c:spPr>
              <a:solidFill>
                <a:srgbClr val="AEABAB"/>
              </a:solidFill>
            </c:spPr>
            <c:extLst>
              <c:ext xmlns:c16="http://schemas.microsoft.com/office/drawing/2014/chart" uri="{C3380CC4-5D6E-409C-BE32-E72D297353CC}">
                <c16:uniqueId val="{000001B1-9508-4416-A596-C7E024946B21}"/>
              </c:ext>
            </c:extLst>
          </c:dPt>
          <c:dPt>
            <c:idx val="216"/>
            <c:invertIfNegative val="1"/>
            <c:bubble3D val="0"/>
            <c:spPr>
              <a:solidFill>
                <a:srgbClr val="AEABAB"/>
              </a:solidFill>
            </c:spPr>
            <c:extLst>
              <c:ext xmlns:c16="http://schemas.microsoft.com/office/drawing/2014/chart" uri="{C3380CC4-5D6E-409C-BE32-E72D297353CC}">
                <c16:uniqueId val="{000001B3-9508-4416-A596-C7E024946B21}"/>
              </c:ext>
            </c:extLst>
          </c:dPt>
          <c:cat>
            <c:strRef>
              <c:f>Sheet1!$A$2:$A$218</c:f>
              <c:strCache>
                <c:ptCount val="217"/>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Gillette</c:v>
                </c:pt>
                <c:pt idx="19">
                  <c:v>Schick</c:v>
                </c:pt>
                <c:pt idx="20">
                  <c:v>Gillette</c:v>
                </c:pt>
                <c:pt idx="21">
                  <c:v>Bic</c:v>
                </c:pt>
                <c:pt idx="22">
                  <c:v>Dollar Shav</c:v>
                </c:pt>
                <c:pt idx="23">
                  <c:v>Gillette</c:v>
                </c:pt>
                <c:pt idx="24">
                  <c:v>Dollar Shav</c:v>
                </c:pt>
                <c:pt idx="25">
                  <c:v>Equate</c:v>
                </c:pt>
                <c:pt idx="26">
                  <c:v>Gillette</c:v>
                </c:pt>
                <c:pt idx="27">
                  <c:v>Bic</c:v>
                </c:pt>
                <c:pt idx="28">
                  <c:v>Gillette</c:v>
                </c:pt>
                <c:pt idx="29">
                  <c:v>Schick</c:v>
                </c:pt>
                <c:pt idx="30">
                  <c:v>Harry's</c:v>
                </c:pt>
                <c:pt idx="31">
                  <c:v>Gillette</c:v>
                </c:pt>
                <c:pt idx="32">
                  <c:v>Schick</c:v>
                </c:pt>
                <c:pt idx="33">
                  <c:v>Van Der Hag</c:v>
                </c:pt>
                <c:pt idx="34">
                  <c:v>Bic</c:v>
                </c:pt>
                <c:pt idx="35">
                  <c:v>Dollar Shav</c:v>
                </c:pt>
                <c:pt idx="36">
                  <c:v>Gillette</c:v>
                </c:pt>
                <c:pt idx="37">
                  <c:v>Comfort 3</c:v>
                </c:pt>
                <c:pt idx="38">
                  <c:v>Van Der Hag</c:v>
                </c:pt>
                <c:pt idx="39">
                  <c:v>Gillette</c:v>
                </c:pt>
                <c:pt idx="40">
                  <c:v>Comfort 3</c:v>
                </c:pt>
                <c:pt idx="41">
                  <c:v>Equate</c:v>
                </c:pt>
                <c:pt idx="42">
                  <c:v>Equate</c:v>
                </c:pt>
                <c:pt idx="43">
                  <c:v>Gillette</c:v>
                </c:pt>
                <c:pt idx="44">
                  <c:v>Harry's</c:v>
                </c:pt>
                <c:pt idx="45">
                  <c:v>Gillette</c:v>
                </c:pt>
                <c:pt idx="46">
                  <c:v>Gillette</c:v>
                </c:pt>
                <c:pt idx="47">
                  <c:v>Bic</c:v>
                </c:pt>
                <c:pt idx="48">
                  <c:v>Gillette</c:v>
                </c:pt>
                <c:pt idx="49">
                  <c:v>Schick</c:v>
                </c:pt>
                <c:pt idx="50">
                  <c:v>Gillette</c:v>
                </c:pt>
                <c:pt idx="51">
                  <c:v>Gillette</c:v>
                </c:pt>
                <c:pt idx="52">
                  <c:v>Gillette</c:v>
                </c:pt>
                <c:pt idx="53">
                  <c:v>Harry's</c:v>
                </c:pt>
                <c:pt idx="54">
                  <c:v>Bic</c:v>
                </c:pt>
                <c:pt idx="55">
                  <c:v>Gillette</c:v>
                </c:pt>
                <c:pt idx="56">
                  <c:v>Gillette</c:v>
                </c:pt>
                <c:pt idx="57">
                  <c:v>Gillette</c:v>
                </c:pt>
                <c:pt idx="58">
                  <c:v>Bic</c:v>
                </c:pt>
                <c:pt idx="59">
                  <c:v>Gillette</c:v>
                </c:pt>
                <c:pt idx="60">
                  <c:v>Harry's</c:v>
                </c:pt>
                <c:pt idx="61">
                  <c:v>Gillette</c:v>
                </c:pt>
                <c:pt idx="62">
                  <c:v>Gillette</c:v>
                </c:pt>
                <c:pt idx="63">
                  <c:v>Equate</c:v>
                </c:pt>
                <c:pt idx="64">
                  <c:v>Gillette</c:v>
                </c:pt>
                <c:pt idx="65">
                  <c:v>Gillette</c:v>
                </c:pt>
                <c:pt idx="66">
                  <c:v>Gillette</c:v>
                </c:pt>
                <c:pt idx="67">
                  <c:v>Dollar Shav</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Gillette</c:v>
                </c:pt>
                <c:pt idx="82">
                  <c:v>Schick</c:v>
                </c:pt>
                <c:pt idx="83">
                  <c:v>Harry's</c:v>
                </c:pt>
                <c:pt idx="84">
                  <c:v>Dollar Shav</c:v>
                </c:pt>
                <c:pt idx="85">
                  <c:v>Harry's</c:v>
                </c:pt>
                <c:pt idx="86">
                  <c:v>Gillette</c:v>
                </c:pt>
                <c:pt idx="87">
                  <c:v>Gillette</c:v>
                </c:pt>
                <c:pt idx="88">
                  <c:v>Gillette</c:v>
                </c:pt>
                <c:pt idx="89">
                  <c:v>Dollar Shav</c:v>
                </c:pt>
                <c:pt idx="90">
                  <c:v>All Others</c:v>
                </c:pt>
                <c:pt idx="91">
                  <c:v>Gillette</c:v>
                </c:pt>
                <c:pt idx="92">
                  <c:v>Dollar Shav</c:v>
                </c:pt>
                <c:pt idx="93">
                  <c:v>Schick</c:v>
                </c:pt>
                <c:pt idx="94">
                  <c:v>Schick</c:v>
                </c:pt>
                <c:pt idx="95">
                  <c:v>Harry's</c:v>
                </c:pt>
                <c:pt idx="96">
                  <c:v>Gillette</c:v>
                </c:pt>
                <c:pt idx="97">
                  <c:v>All Others</c:v>
                </c:pt>
                <c:pt idx="98">
                  <c:v>Schick</c:v>
                </c:pt>
                <c:pt idx="99">
                  <c:v>Gillette</c:v>
                </c:pt>
                <c:pt idx="100">
                  <c:v>Gillette</c:v>
                </c:pt>
                <c:pt idx="101">
                  <c:v>Equate</c:v>
                </c:pt>
                <c:pt idx="102">
                  <c:v>Dollar Shav</c:v>
                </c:pt>
                <c:pt idx="103">
                  <c:v>Gillette</c:v>
                </c:pt>
                <c:pt idx="104">
                  <c:v>Harry's</c:v>
                </c:pt>
                <c:pt idx="105">
                  <c:v>Van Der Hag</c:v>
                </c:pt>
                <c:pt idx="106">
                  <c:v>Comfort 3</c:v>
                </c:pt>
                <c:pt idx="107">
                  <c:v>Gillette</c:v>
                </c:pt>
                <c:pt idx="108">
                  <c:v>Gillette</c:v>
                </c:pt>
                <c:pt idx="109">
                  <c:v>Schick</c:v>
                </c:pt>
                <c:pt idx="110">
                  <c:v>Gillette</c:v>
                </c:pt>
                <c:pt idx="111">
                  <c:v>Dollar Shav</c:v>
                </c:pt>
                <c:pt idx="112">
                  <c:v>Gillette</c:v>
                </c:pt>
                <c:pt idx="113">
                  <c:v>Gillette</c:v>
                </c:pt>
                <c:pt idx="114">
                  <c:v>Equate</c:v>
                </c:pt>
                <c:pt idx="115">
                  <c:v>Schick</c:v>
                </c:pt>
                <c:pt idx="116">
                  <c:v>Cremo</c:v>
                </c:pt>
                <c:pt idx="117">
                  <c:v>Gillette</c:v>
                </c:pt>
                <c:pt idx="118">
                  <c:v>Bic</c:v>
                </c:pt>
                <c:pt idx="119">
                  <c:v>Gillette</c:v>
                </c:pt>
                <c:pt idx="120">
                  <c:v>Schick</c:v>
                </c:pt>
                <c:pt idx="121">
                  <c:v>Gillette</c:v>
                </c:pt>
                <c:pt idx="122">
                  <c:v>Gillette</c:v>
                </c:pt>
                <c:pt idx="123">
                  <c:v>Cremo</c:v>
                </c:pt>
                <c:pt idx="124">
                  <c:v>Gillette</c:v>
                </c:pt>
                <c:pt idx="125">
                  <c:v>Schick</c:v>
                </c:pt>
                <c:pt idx="126">
                  <c:v>Harry's</c:v>
                </c:pt>
                <c:pt idx="127">
                  <c:v>Schick</c:v>
                </c:pt>
                <c:pt idx="128">
                  <c:v>Schick</c:v>
                </c:pt>
                <c:pt idx="129">
                  <c:v>Dollar Shav</c:v>
                </c:pt>
                <c:pt idx="130">
                  <c:v>Unilever: A</c:v>
                </c:pt>
                <c:pt idx="131">
                  <c:v>Schick</c:v>
                </c:pt>
                <c:pt idx="132">
                  <c:v>Gillette</c:v>
                </c:pt>
                <c:pt idx="133">
                  <c:v>Schick</c:v>
                </c:pt>
                <c:pt idx="134">
                  <c:v>Schick</c:v>
                </c:pt>
                <c:pt idx="135">
                  <c:v>Schick</c:v>
                </c:pt>
                <c:pt idx="136">
                  <c:v>Bic</c:v>
                </c:pt>
                <c:pt idx="137">
                  <c:v>Gillette</c:v>
                </c:pt>
                <c:pt idx="138">
                  <c:v>Gillette</c:v>
                </c:pt>
                <c:pt idx="139">
                  <c:v>Bic</c:v>
                </c:pt>
                <c:pt idx="140">
                  <c:v>Equate</c:v>
                </c:pt>
                <c:pt idx="141">
                  <c:v>Schick</c:v>
                </c:pt>
                <c:pt idx="142">
                  <c:v>Schick</c:v>
                </c:pt>
                <c:pt idx="143">
                  <c:v>Schick</c:v>
                </c:pt>
                <c:pt idx="144">
                  <c:v>Dollar Shav</c:v>
                </c:pt>
                <c:pt idx="145">
                  <c:v>Gillette</c:v>
                </c:pt>
                <c:pt idx="146">
                  <c:v>Gillette</c:v>
                </c:pt>
                <c:pt idx="147">
                  <c:v>Edgewell Pe</c:v>
                </c:pt>
                <c:pt idx="148">
                  <c:v>Gillette</c:v>
                </c:pt>
                <c:pt idx="149">
                  <c:v>Gillette</c:v>
                </c:pt>
                <c:pt idx="150">
                  <c:v>Van Der Hag</c:v>
                </c:pt>
                <c:pt idx="151">
                  <c:v>Gillette</c:v>
                </c:pt>
                <c:pt idx="152">
                  <c:v>Gillette</c:v>
                </c:pt>
                <c:pt idx="153">
                  <c:v>Van Der Hag</c:v>
                </c:pt>
                <c:pt idx="154">
                  <c:v>Bic</c:v>
                </c:pt>
                <c:pt idx="155">
                  <c:v>Gillette</c:v>
                </c:pt>
                <c:pt idx="156">
                  <c:v>Gillette</c:v>
                </c:pt>
                <c:pt idx="157">
                  <c:v>Schick</c:v>
                </c:pt>
                <c:pt idx="158">
                  <c:v>Equate</c:v>
                </c:pt>
                <c:pt idx="159">
                  <c:v>Gillette</c:v>
                </c:pt>
                <c:pt idx="160">
                  <c:v>Gillette</c:v>
                </c:pt>
                <c:pt idx="161">
                  <c:v>Schick</c:v>
                </c:pt>
                <c:pt idx="162">
                  <c:v>Dollar Shav</c:v>
                </c:pt>
                <c:pt idx="163">
                  <c:v>Gillette</c:v>
                </c:pt>
                <c:pt idx="164">
                  <c:v>Gillette</c:v>
                </c:pt>
                <c:pt idx="165">
                  <c:v>Equate</c:v>
                </c:pt>
                <c:pt idx="166">
                  <c:v>Bic</c:v>
                </c:pt>
                <c:pt idx="167">
                  <c:v>Gillette</c:v>
                </c:pt>
                <c:pt idx="168">
                  <c:v>Gillette</c:v>
                </c:pt>
                <c:pt idx="169">
                  <c:v>Gillette</c:v>
                </c:pt>
                <c:pt idx="170">
                  <c:v>Equate</c:v>
                </c:pt>
                <c:pt idx="171">
                  <c:v>Edgewell Pe</c:v>
                </c:pt>
                <c:pt idx="172">
                  <c:v>Schick</c:v>
                </c:pt>
                <c:pt idx="173">
                  <c:v>Gillette</c:v>
                </c:pt>
                <c:pt idx="174">
                  <c:v>Schick</c:v>
                </c:pt>
                <c:pt idx="175">
                  <c:v>Schick</c:v>
                </c:pt>
                <c:pt idx="176">
                  <c:v>All Others</c:v>
                </c:pt>
                <c:pt idx="177">
                  <c:v>Gillette</c:v>
                </c:pt>
                <c:pt idx="178">
                  <c:v>Schick</c:v>
                </c:pt>
                <c:pt idx="179">
                  <c:v>Gillette</c:v>
                </c:pt>
                <c:pt idx="180">
                  <c:v>Gillette</c:v>
                </c:pt>
                <c:pt idx="181">
                  <c:v>Harry's</c:v>
                </c:pt>
                <c:pt idx="182">
                  <c:v>Schick</c:v>
                </c:pt>
                <c:pt idx="183">
                  <c:v>Schick</c:v>
                </c:pt>
                <c:pt idx="184">
                  <c:v>Schick</c:v>
                </c:pt>
                <c:pt idx="185">
                  <c:v>Equate</c:v>
                </c:pt>
                <c:pt idx="186">
                  <c:v>Gillette</c:v>
                </c:pt>
                <c:pt idx="187">
                  <c:v>Gillette</c:v>
                </c:pt>
                <c:pt idx="188">
                  <c:v>Schick</c:v>
                </c:pt>
                <c:pt idx="189">
                  <c:v>Gillette</c:v>
                </c:pt>
                <c:pt idx="190">
                  <c:v>Gillette</c:v>
                </c:pt>
                <c:pt idx="191">
                  <c:v>Schick</c:v>
                </c:pt>
                <c:pt idx="192">
                  <c:v>Schick</c:v>
                </c:pt>
                <c:pt idx="193">
                  <c:v>Gillette</c:v>
                </c:pt>
                <c:pt idx="194">
                  <c:v>Dollar Shav</c:v>
                </c:pt>
                <c:pt idx="195">
                  <c:v>Equate</c:v>
                </c:pt>
                <c:pt idx="196">
                  <c:v>Gillette</c:v>
                </c:pt>
                <c:pt idx="197">
                  <c:v>Gillette</c:v>
                </c:pt>
                <c:pt idx="198">
                  <c:v>Equate</c:v>
                </c:pt>
                <c:pt idx="199">
                  <c:v>Personna</c:v>
                </c:pt>
                <c:pt idx="200">
                  <c:v>Edgewell Pe</c:v>
                </c:pt>
                <c:pt idx="201">
                  <c:v>Unilever: A</c:v>
                </c:pt>
                <c:pt idx="202">
                  <c:v>Dollar Shav</c:v>
                </c:pt>
                <c:pt idx="203">
                  <c:v>Schick</c:v>
                </c:pt>
                <c:pt idx="204">
                  <c:v>Schick</c:v>
                </c:pt>
                <c:pt idx="205">
                  <c:v>Equate</c:v>
                </c:pt>
                <c:pt idx="206">
                  <c:v>Gillette</c:v>
                </c:pt>
                <c:pt idx="207">
                  <c:v>Gillette</c:v>
                </c:pt>
                <c:pt idx="208">
                  <c:v>Gillette</c:v>
                </c:pt>
                <c:pt idx="209">
                  <c:v>Procter &amp; G</c:v>
                </c:pt>
                <c:pt idx="210">
                  <c:v>Schick</c:v>
                </c:pt>
                <c:pt idx="211">
                  <c:v>Gillette</c:v>
                </c:pt>
                <c:pt idx="212">
                  <c:v>All Others</c:v>
                </c:pt>
                <c:pt idx="213">
                  <c:v>Gillette</c:v>
                </c:pt>
                <c:pt idx="214">
                  <c:v>Gillette</c:v>
                </c:pt>
                <c:pt idx="215">
                  <c:v>Private Lab</c:v>
                </c:pt>
                <c:pt idx="216">
                  <c:v>Schick</c:v>
                </c:pt>
              </c:strCache>
            </c:strRef>
          </c:cat>
          <c:val>
            <c:numRef>
              <c:f>Sheet1!$C$2:$C$218</c:f>
              <c:numCache>
                <c:formatCode>General</c:formatCode>
                <c:ptCount val="217"/>
                <c:pt idx="0">
                  <c:v>8.1329146854941553E-2</c:v>
                </c:pt>
                <c:pt idx="1">
                  <c:v>0.16013863596254391</c:v>
                </c:pt>
                <c:pt idx="2">
                  <c:v>0.21319131460999152</c:v>
                </c:pt>
                <c:pt idx="3">
                  <c:v>0.25340672163864714</c:v>
                </c:pt>
                <c:pt idx="4">
                  <c:v>0.29344865258063962</c:v>
                </c:pt>
                <c:pt idx="5">
                  <c:v>0.33184453857395479</c:v>
                </c:pt>
                <c:pt idx="6">
                  <c:v>0.3669724400168744</c:v>
                </c:pt>
                <c:pt idx="7">
                  <c:v>0.39898034038981878</c:v>
                </c:pt>
                <c:pt idx="8">
                  <c:v>0.42703109395747452</c:v>
                </c:pt>
                <c:pt idx="9">
                  <c:v>0.4528126896589898</c:v>
                </c:pt>
                <c:pt idx="10">
                  <c:v>0.47676633088753906</c:v>
                </c:pt>
                <c:pt idx="11">
                  <c:v>0.50057106494074888</c:v>
                </c:pt>
                <c:pt idx="12">
                  <c:v>0.52177869165963053</c:v>
                </c:pt>
                <c:pt idx="13">
                  <c:v>0.54105700813258428</c:v>
                </c:pt>
                <c:pt idx="14">
                  <c:v>0.55991031849464368</c:v>
                </c:pt>
                <c:pt idx="15">
                  <c:v>0.57832210955299868</c:v>
                </c:pt>
                <c:pt idx="16">
                  <c:v>0.59581996114678193</c:v>
                </c:pt>
                <c:pt idx="17">
                  <c:v>0.61262621934811545</c:v>
                </c:pt>
                <c:pt idx="18">
                  <c:v>0.62894907263004551</c:v>
                </c:pt>
                <c:pt idx="19">
                  <c:v>0.64475596847274708</c:v>
                </c:pt>
                <c:pt idx="20">
                  <c:v>0.65985053070994582</c:v>
                </c:pt>
                <c:pt idx="21">
                  <c:v>0.67479981874289952</c:v>
                </c:pt>
                <c:pt idx="22">
                  <c:v>0.68880455832797749</c:v>
                </c:pt>
                <c:pt idx="23">
                  <c:v>0.70257450771310137</c:v>
                </c:pt>
                <c:pt idx="24">
                  <c:v>0.71633651469544524</c:v>
                </c:pt>
                <c:pt idx="25">
                  <c:v>0.72999272598835729</c:v>
                </c:pt>
                <c:pt idx="26">
                  <c:v>0.74336241329822617</c:v>
                </c:pt>
                <c:pt idx="27">
                  <c:v>0.75591917353547433</c:v>
                </c:pt>
                <c:pt idx="28">
                  <c:v>0.76839308280243335</c:v>
                </c:pt>
                <c:pt idx="29">
                  <c:v>0.78075449014881937</c:v>
                </c:pt>
                <c:pt idx="30">
                  <c:v>0.79298477402241607</c:v>
                </c:pt>
                <c:pt idx="31">
                  <c:v>0.80429278800811865</c:v>
                </c:pt>
                <c:pt idx="32">
                  <c:v>0.8154184117361174</c:v>
                </c:pt>
                <c:pt idx="33">
                  <c:v>0.82605599146725661</c:v>
                </c:pt>
                <c:pt idx="34">
                  <c:v>0.83580141239133987</c:v>
                </c:pt>
                <c:pt idx="35">
                  <c:v>0.84540565908044729</c:v>
                </c:pt>
                <c:pt idx="36">
                  <c:v>0.8543211555718746</c:v>
                </c:pt>
                <c:pt idx="37">
                  <c:v>0.86291054311733206</c:v>
                </c:pt>
                <c:pt idx="38">
                  <c:v>0.87119186295512785</c:v>
                </c:pt>
                <c:pt idx="39">
                  <c:v>0.87883725832994697</c:v>
                </c:pt>
                <c:pt idx="40">
                  <c:v>0.8860350702924108</c:v>
                </c:pt>
                <c:pt idx="41">
                  <c:v>0.89305986973257612</c:v>
                </c:pt>
                <c:pt idx="42">
                  <c:v>0.89983926849955331</c:v>
                </c:pt>
                <c:pt idx="43">
                  <c:v>0.90660613729344586</c:v>
                </c:pt>
                <c:pt idx="44">
                  <c:v>0.91301514126548855</c:v>
                </c:pt>
                <c:pt idx="45">
                  <c:v>0.91915460144547279</c:v>
                </c:pt>
                <c:pt idx="46">
                  <c:v>0.92527130919968048</c:v>
                </c:pt>
                <c:pt idx="47">
                  <c:v>0.9306926532379397</c:v>
                </c:pt>
                <c:pt idx="48">
                  <c:v>0.93556301840767753</c:v>
                </c:pt>
                <c:pt idx="49">
                  <c:v>0.94022639350409676</c:v>
                </c:pt>
                <c:pt idx="50">
                  <c:v>0.9448581020036988</c:v>
                </c:pt>
                <c:pt idx="51">
                  <c:v>0.94914022803143172</c:v>
                </c:pt>
                <c:pt idx="52">
                  <c:v>0.95301156735592818</c:v>
                </c:pt>
                <c:pt idx="53">
                  <c:v>0.95671559428290553</c:v>
                </c:pt>
                <c:pt idx="54">
                  <c:v>0.96032405827457346</c:v>
                </c:pt>
                <c:pt idx="55">
                  <c:v>0.96384274186715402</c:v>
                </c:pt>
                <c:pt idx="56">
                  <c:v>0.96719844309676195</c:v>
                </c:pt>
                <c:pt idx="57">
                  <c:v>0.97053780625787534</c:v>
                </c:pt>
                <c:pt idx="58">
                  <c:v>0.97367568374327351</c:v>
                </c:pt>
                <c:pt idx="59">
                  <c:v>0.97677729332630958</c:v>
                </c:pt>
                <c:pt idx="60">
                  <c:v>0.97979948231535452</c:v>
                </c:pt>
                <c:pt idx="61">
                  <c:v>0.98260846260097512</c:v>
                </c:pt>
                <c:pt idx="62">
                  <c:v>0.9847687961571685</c:v>
                </c:pt>
                <c:pt idx="63">
                  <c:v>0.98685684114296535</c:v>
                </c:pt>
                <c:pt idx="64">
                  <c:v>0.98881223461047474</c:v>
                </c:pt>
                <c:pt idx="65">
                  <c:v>0.99070773212826779</c:v>
                </c:pt>
                <c:pt idx="66">
                  <c:v>0.9920904862530936</c:v>
                </c:pt>
                <c:pt idx="67">
                  <c:v>0.99341075190157146</c:v>
                </c:pt>
                <c:pt idx="68">
                  <c:v>0.99457404778857605</c:v>
                </c:pt>
                <c:pt idx="69">
                  <c:v>0.99568977167034245</c:v>
                </c:pt>
                <c:pt idx="70">
                  <c:v>0.9967420524765509</c:v>
                </c:pt>
                <c:pt idx="71">
                  <c:v>0.99766165772780113</c:v>
                </c:pt>
                <c:pt idx="72">
                  <c:v>0.99844360153181611</c:v>
                </c:pt>
                <c:pt idx="73">
                  <c:v>0.99883812914419057</c:v>
                </c:pt>
                <c:pt idx="74">
                  <c:v>0.99917088594652981</c:v>
                </c:pt>
                <c:pt idx="75">
                  <c:v>0.99946911578823172</c:v>
                </c:pt>
                <c:pt idx="76">
                  <c:v>0.99961310231368616</c:v>
                </c:pt>
                <c:pt idx="77">
                  <c:v>0.99972952907921264</c:v>
                </c:pt>
                <c:pt idx="78">
                  <c:v>0.99976796714956317</c:v>
                </c:pt>
                <c:pt idx="79">
                  <c:v>0.99979516292561965</c:v>
                </c:pt>
                <c:pt idx="80">
                  <c:v>0.99981853687102573</c:v>
                </c:pt>
                <c:pt idx="81">
                  <c:v>0.99983511530622782</c:v>
                </c:pt>
                <c:pt idx="82">
                  <c:v>0.99985008328448921</c:v>
                </c:pt>
                <c:pt idx="83">
                  <c:v>0.99986291886667344</c:v>
                </c:pt>
                <c:pt idx="84">
                  <c:v>0.999875479744049</c:v>
                </c:pt>
                <c:pt idx="85">
                  <c:v>0.99988772127708447</c:v>
                </c:pt>
                <c:pt idx="86">
                  <c:v>0.99989916273236479</c:v>
                </c:pt>
                <c:pt idx="87">
                  <c:v>0.99990757556712972</c:v>
                </c:pt>
                <c:pt idx="88">
                  <c:v>0.99991446379020665</c:v>
                </c:pt>
                <c:pt idx="89">
                  <c:v>0.99992085754462801</c:v>
                </c:pt>
                <c:pt idx="90">
                  <c:v>0.9999267156246725</c:v>
                </c:pt>
                <c:pt idx="91">
                  <c:v>0.99993177362696184</c:v>
                </c:pt>
                <c:pt idx="92">
                  <c:v>0.99993668397541646</c:v>
                </c:pt>
                <c:pt idx="93">
                  <c:v>0.99994153938290942</c:v>
                </c:pt>
                <c:pt idx="94">
                  <c:v>0.99994510711161178</c:v>
                </c:pt>
                <c:pt idx="95">
                  <c:v>0.99994796747543191</c:v>
                </c:pt>
                <c:pt idx="96">
                  <c:v>0.99995077289829026</c:v>
                </c:pt>
                <c:pt idx="97">
                  <c:v>0.99995349934351607</c:v>
                </c:pt>
                <c:pt idx="98">
                  <c:v>0.99995620861969137</c:v>
                </c:pt>
                <c:pt idx="99">
                  <c:v>0.99995879427870282</c:v>
                </c:pt>
                <c:pt idx="100">
                  <c:v>0.99996123228387956</c:v>
                </c:pt>
                <c:pt idx="101">
                  <c:v>0.99996353293665197</c:v>
                </c:pt>
                <c:pt idx="102">
                  <c:v>0.99996581298656373</c:v>
                </c:pt>
                <c:pt idx="103">
                  <c:v>0.99996795911788128</c:v>
                </c:pt>
                <c:pt idx="104">
                  <c:v>0.9999697653019981</c:v>
                </c:pt>
                <c:pt idx="105">
                  <c:v>0.99997136202369841</c:v>
                </c:pt>
                <c:pt idx="106">
                  <c:v>0.99997261193057774</c:v>
                </c:pt>
                <c:pt idx="107">
                  <c:v>0.9999737347864831</c:v>
                </c:pt>
                <c:pt idx="108">
                  <c:v>0.99997484390714808</c:v>
                </c:pt>
                <c:pt idx="109">
                  <c:v>0.99997591525590179</c:v>
                </c:pt>
                <c:pt idx="110">
                  <c:v>0.99997695226655448</c:v>
                </c:pt>
                <c:pt idx="111">
                  <c:v>0.99997792403481511</c:v>
                </c:pt>
                <c:pt idx="112">
                  <c:v>0.99997885803116449</c:v>
                </c:pt>
                <c:pt idx="113">
                  <c:v>0.99997978515989372</c:v>
                </c:pt>
                <c:pt idx="114">
                  <c:v>0.99998067451671169</c:v>
                </c:pt>
                <c:pt idx="115">
                  <c:v>0.99998155357209939</c:v>
                </c:pt>
                <c:pt idx="116">
                  <c:v>0.99998241202462645</c:v>
                </c:pt>
                <c:pt idx="117">
                  <c:v>0.99998324300667263</c:v>
                </c:pt>
                <c:pt idx="118">
                  <c:v>0.99998401561394701</c:v>
                </c:pt>
                <c:pt idx="119">
                  <c:v>0.9999847470155</c:v>
                </c:pt>
                <c:pt idx="120">
                  <c:v>0.99998545438038222</c:v>
                </c:pt>
                <c:pt idx="121">
                  <c:v>0.99998613427478367</c:v>
                </c:pt>
                <c:pt idx="122">
                  <c:v>0.99998679013251435</c:v>
                </c:pt>
                <c:pt idx="123">
                  <c:v>0.99998739104928325</c:v>
                </c:pt>
                <c:pt idx="124">
                  <c:v>0.99998798509843201</c:v>
                </c:pt>
                <c:pt idx="125">
                  <c:v>0.99998852764042911</c:v>
                </c:pt>
                <c:pt idx="126">
                  <c:v>0.99998905988099585</c:v>
                </c:pt>
                <c:pt idx="127">
                  <c:v>0.99998957495251206</c:v>
                </c:pt>
                <c:pt idx="128">
                  <c:v>0.99999006255354739</c:v>
                </c:pt>
                <c:pt idx="129">
                  <c:v>0.99999052611791195</c:v>
                </c:pt>
                <c:pt idx="130">
                  <c:v>0.99999093474131484</c:v>
                </c:pt>
                <c:pt idx="131">
                  <c:v>0.99999133649709748</c:v>
                </c:pt>
                <c:pt idx="132">
                  <c:v>0.9999917039147791</c:v>
                </c:pt>
                <c:pt idx="133">
                  <c:v>0.99999204042816969</c:v>
                </c:pt>
                <c:pt idx="134">
                  <c:v>0.99999236664012991</c:v>
                </c:pt>
                <c:pt idx="135">
                  <c:v>0.9999926722492295</c:v>
                </c:pt>
                <c:pt idx="136">
                  <c:v>0.99999296755689882</c:v>
                </c:pt>
                <c:pt idx="137">
                  <c:v>0.99999325943075801</c:v>
                </c:pt>
                <c:pt idx="138">
                  <c:v>0.99999354443699695</c:v>
                </c:pt>
                <c:pt idx="139">
                  <c:v>0.9999938157079955</c:v>
                </c:pt>
                <c:pt idx="140">
                  <c:v>0.99999407667756368</c:v>
                </c:pt>
                <c:pt idx="141">
                  <c:v>0.99999433421332184</c:v>
                </c:pt>
                <c:pt idx="142">
                  <c:v>0.99999458144764963</c:v>
                </c:pt>
                <c:pt idx="143">
                  <c:v>0.99999482868197742</c:v>
                </c:pt>
                <c:pt idx="144">
                  <c:v>0.99999505187963444</c:v>
                </c:pt>
                <c:pt idx="145">
                  <c:v>0.99999525447443083</c:v>
                </c:pt>
                <c:pt idx="146">
                  <c:v>0.99999545706922721</c:v>
                </c:pt>
                <c:pt idx="147">
                  <c:v>0.99999565623021347</c:v>
                </c:pt>
                <c:pt idx="148">
                  <c:v>0.9999958519573896</c:v>
                </c:pt>
                <c:pt idx="149">
                  <c:v>0.99999604425075561</c:v>
                </c:pt>
                <c:pt idx="150">
                  <c:v>0.99999622967650148</c:v>
                </c:pt>
                <c:pt idx="151">
                  <c:v>0.99999640480081697</c:v>
                </c:pt>
                <c:pt idx="152">
                  <c:v>0.99999656275608195</c:v>
                </c:pt>
                <c:pt idx="153">
                  <c:v>0.99999672071134693</c:v>
                </c:pt>
                <c:pt idx="154">
                  <c:v>0.99999687179899166</c:v>
                </c:pt>
                <c:pt idx="155">
                  <c:v>0.99999701258520612</c:v>
                </c:pt>
                <c:pt idx="156">
                  <c:v>0.99999714650380034</c:v>
                </c:pt>
                <c:pt idx="157">
                  <c:v>0.99999727698858443</c:v>
                </c:pt>
                <c:pt idx="158">
                  <c:v>0.99999740403955839</c:v>
                </c:pt>
                <c:pt idx="159">
                  <c:v>0.99999752765672223</c:v>
                </c:pt>
                <c:pt idx="160">
                  <c:v>0.99999765127388607</c:v>
                </c:pt>
                <c:pt idx="161">
                  <c:v>0.99999777489104991</c:v>
                </c:pt>
                <c:pt idx="162">
                  <c:v>0.99999789507440373</c:v>
                </c:pt>
                <c:pt idx="163">
                  <c:v>0.99999801182394743</c:v>
                </c:pt>
                <c:pt idx="164">
                  <c:v>0.99999811483825063</c:v>
                </c:pt>
                <c:pt idx="165">
                  <c:v>0.99999820755112356</c:v>
                </c:pt>
                <c:pt idx="166">
                  <c:v>0.99999829683018637</c:v>
                </c:pt>
                <c:pt idx="167">
                  <c:v>0.99999837924162893</c:v>
                </c:pt>
                <c:pt idx="168">
                  <c:v>0.99999846165307149</c:v>
                </c:pt>
                <c:pt idx="169">
                  <c:v>0.99999854063070392</c:v>
                </c:pt>
                <c:pt idx="170">
                  <c:v>0.99999861617452634</c:v>
                </c:pt>
                <c:pt idx="171">
                  <c:v>0.99999868828453864</c:v>
                </c:pt>
                <c:pt idx="172">
                  <c:v>0.99999876039455093</c:v>
                </c:pt>
                <c:pt idx="173">
                  <c:v>0.99999882563694298</c:v>
                </c:pt>
                <c:pt idx="174">
                  <c:v>0.99999888401171477</c:v>
                </c:pt>
                <c:pt idx="175">
                  <c:v>0.99999894238648657</c:v>
                </c:pt>
                <c:pt idx="176">
                  <c:v>0.99999900076125836</c:v>
                </c:pt>
                <c:pt idx="177">
                  <c:v>0.99999905913603016</c:v>
                </c:pt>
                <c:pt idx="178">
                  <c:v>0.99999911064318181</c:v>
                </c:pt>
                <c:pt idx="179">
                  <c:v>0.99999916215033346</c:v>
                </c:pt>
                <c:pt idx="180">
                  <c:v>0.99999921365748512</c:v>
                </c:pt>
                <c:pt idx="181">
                  <c:v>0.99999926516463677</c:v>
                </c:pt>
                <c:pt idx="182">
                  <c:v>0.99999931667178843</c:v>
                </c:pt>
                <c:pt idx="183">
                  <c:v>0.99999936474512996</c:v>
                </c:pt>
                <c:pt idx="184">
                  <c:v>0.99999941281847149</c:v>
                </c:pt>
                <c:pt idx="185">
                  <c:v>0.99999946089181302</c:v>
                </c:pt>
                <c:pt idx="186">
                  <c:v>0.99999950553134442</c:v>
                </c:pt>
                <c:pt idx="187">
                  <c:v>0.9999995467370657</c:v>
                </c:pt>
                <c:pt idx="188">
                  <c:v>0.99999958107516673</c:v>
                </c:pt>
                <c:pt idx="189">
                  <c:v>0.99999961541326776</c:v>
                </c:pt>
                <c:pt idx="190">
                  <c:v>0.99999964631755878</c:v>
                </c:pt>
                <c:pt idx="191">
                  <c:v>0.99999967722184979</c:v>
                </c:pt>
                <c:pt idx="192">
                  <c:v>0.99999970812614081</c:v>
                </c:pt>
                <c:pt idx="193">
                  <c:v>0.99999973216281157</c:v>
                </c:pt>
                <c:pt idx="194">
                  <c:v>0.99999975619948234</c:v>
                </c:pt>
                <c:pt idx="195">
                  <c:v>0.9999997802361531</c:v>
                </c:pt>
                <c:pt idx="196">
                  <c:v>0.99999980427282387</c:v>
                </c:pt>
                <c:pt idx="197">
                  <c:v>0.99999982487568451</c:v>
                </c:pt>
                <c:pt idx="198">
                  <c:v>0.99999984547854515</c:v>
                </c:pt>
                <c:pt idx="199">
                  <c:v>0.99999986264759566</c:v>
                </c:pt>
                <c:pt idx="200">
                  <c:v>0.99999987638283605</c:v>
                </c:pt>
                <c:pt idx="201">
                  <c:v>0.99999989011807644</c:v>
                </c:pt>
                <c:pt idx="202">
                  <c:v>0.99999990385331683</c:v>
                </c:pt>
                <c:pt idx="203">
                  <c:v>0.9999999141547472</c:v>
                </c:pt>
                <c:pt idx="204">
                  <c:v>0.99999992445617758</c:v>
                </c:pt>
                <c:pt idx="205">
                  <c:v>0.99999993475760796</c:v>
                </c:pt>
                <c:pt idx="206">
                  <c:v>0.99999994505903833</c:v>
                </c:pt>
                <c:pt idx="207">
                  <c:v>0.99999995192665858</c:v>
                </c:pt>
                <c:pt idx="208">
                  <c:v>0.99999995879427883</c:v>
                </c:pt>
                <c:pt idx="209">
                  <c:v>0.99999996566189908</c:v>
                </c:pt>
                <c:pt idx="210">
                  <c:v>0.99999997252951933</c:v>
                </c:pt>
                <c:pt idx="211">
                  <c:v>0.99999997939713958</c:v>
                </c:pt>
                <c:pt idx="212">
                  <c:v>0.99999998626475983</c:v>
                </c:pt>
                <c:pt idx="213">
                  <c:v>0.99999998969856996</c:v>
                </c:pt>
                <c:pt idx="214">
                  <c:v>0.99999999313238008</c:v>
                </c:pt>
                <c:pt idx="215">
                  <c:v>0.99999999656619021</c:v>
                </c:pt>
                <c:pt idx="21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2</c:f>
              <c:strCache>
                <c:ptCount val="91"/>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Equate</c:v>
                </c:pt>
                <c:pt idx="14">
                  <c:v>Gillet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Gillette</c:v>
                </c:pt>
                <c:pt idx="32">
                  <c:v>Dollar Shav</c:v>
                </c:pt>
                <c:pt idx="33">
                  <c:v>Gillette</c:v>
                </c:pt>
                <c:pt idx="34">
                  <c:v>Gillette</c:v>
                </c:pt>
                <c:pt idx="35">
                  <c:v>Dollar Shav</c:v>
                </c:pt>
                <c:pt idx="36">
                  <c:v>Gillette</c:v>
                </c:pt>
                <c:pt idx="37">
                  <c:v>Dollar Shav</c:v>
                </c:pt>
                <c:pt idx="38">
                  <c:v>Gillette</c:v>
                </c:pt>
                <c:pt idx="39">
                  <c:v>All Others</c:v>
                </c:pt>
                <c:pt idx="40">
                  <c:v>Schick</c:v>
                </c:pt>
                <c:pt idx="41">
                  <c:v>Equate</c:v>
                </c:pt>
                <c:pt idx="42">
                  <c:v>Van Der Hag</c:v>
                </c:pt>
                <c:pt idx="43">
                  <c:v>Gillette</c:v>
                </c:pt>
                <c:pt idx="44">
                  <c:v>Equate</c:v>
                </c:pt>
                <c:pt idx="45">
                  <c:v>Schick</c:v>
                </c:pt>
                <c:pt idx="46">
                  <c:v>Gillette</c:v>
                </c:pt>
                <c:pt idx="47">
                  <c:v>Gillette</c:v>
                </c:pt>
                <c:pt idx="48">
                  <c:v>Gillette</c:v>
                </c:pt>
                <c:pt idx="49">
                  <c:v>Gillette</c:v>
                </c:pt>
                <c:pt idx="50">
                  <c:v>Schick</c:v>
                </c:pt>
                <c:pt idx="51">
                  <c:v>Gillette</c:v>
                </c:pt>
                <c:pt idx="52">
                  <c:v>Schick</c:v>
                </c:pt>
                <c:pt idx="53">
                  <c:v>Gillette</c:v>
                </c:pt>
                <c:pt idx="54">
                  <c:v>Schick</c:v>
                </c:pt>
                <c:pt idx="55">
                  <c:v>Schick</c:v>
                </c:pt>
                <c:pt idx="56">
                  <c:v>Schick</c:v>
                </c:pt>
                <c:pt idx="57">
                  <c:v>Schick</c:v>
                </c:pt>
                <c:pt idx="58">
                  <c:v>Gillette</c:v>
                </c:pt>
                <c:pt idx="59">
                  <c:v>Gillette</c:v>
                </c:pt>
                <c:pt idx="60">
                  <c:v>Gillette</c:v>
                </c:pt>
                <c:pt idx="61">
                  <c:v>Edgewell Pe</c:v>
                </c:pt>
                <c:pt idx="62">
                  <c:v>Gillette</c:v>
                </c:pt>
                <c:pt idx="63">
                  <c:v>Gillette</c:v>
                </c:pt>
                <c:pt idx="64">
                  <c:v>Gillette</c:v>
                </c:pt>
                <c:pt idx="65">
                  <c:v>Schick</c:v>
                </c:pt>
                <c:pt idx="66">
                  <c:v>Equate</c:v>
                </c:pt>
                <c:pt idx="67">
                  <c:v>Gillette</c:v>
                </c:pt>
                <c:pt idx="68">
                  <c:v>Gillette</c:v>
                </c:pt>
                <c:pt idx="69">
                  <c:v>Gillette</c:v>
                </c:pt>
                <c:pt idx="70">
                  <c:v>Equate</c:v>
                </c:pt>
                <c:pt idx="71">
                  <c:v>Gillette</c:v>
                </c:pt>
                <c:pt idx="72">
                  <c:v>Gillette</c:v>
                </c:pt>
                <c:pt idx="73">
                  <c:v>Gillette</c:v>
                </c:pt>
                <c:pt idx="74">
                  <c:v>Schick</c:v>
                </c:pt>
                <c:pt idx="75">
                  <c:v>Edgewell Pe</c:v>
                </c:pt>
                <c:pt idx="76">
                  <c:v>Schick</c:v>
                </c:pt>
                <c:pt idx="77">
                  <c:v>Gillette</c:v>
                </c:pt>
                <c:pt idx="78">
                  <c:v>Equate</c:v>
                </c:pt>
                <c:pt idx="79">
                  <c:v>Schick</c:v>
                </c:pt>
                <c:pt idx="80">
                  <c:v>Gillette</c:v>
                </c:pt>
                <c:pt idx="81">
                  <c:v>Personna</c:v>
                </c:pt>
                <c:pt idx="82">
                  <c:v>Unilever: A</c:v>
                </c:pt>
                <c:pt idx="83">
                  <c:v>Equate</c:v>
                </c:pt>
                <c:pt idx="84">
                  <c:v>Gillette</c:v>
                </c:pt>
                <c:pt idx="85">
                  <c:v>Gillette</c:v>
                </c:pt>
                <c:pt idx="86">
                  <c:v>All Others</c:v>
                </c:pt>
                <c:pt idx="87">
                  <c:v>Procter &amp; G</c:v>
                </c:pt>
                <c:pt idx="88">
                  <c:v>Schick</c:v>
                </c:pt>
                <c:pt idx="89">
                  <c:v>Gillette</c:v>
                </c:pt>
                <c:pt idx="90">
                  <c:v>Gillette</c:v>
                </c:pt>
              </c:strCache>
            </c:strRef>
          </c:cat>
          <c:val>
            <c:numRef>
              <c:f>Sheet1!$B$2:$B$92</c:f>
              <c:numCache>
                <c:formatCode>General</c:formatCode>
                <c:ptCount val="91"/>
                <c:pt idx="0">
                  <c:v>0.98599999999999999</c:v>
                </c:pt>
                <c:pt idx="1">
                  <c:v>0.98799999999999999</c:v>
                </c:pt>
                <c:pt idx="2">
                  <c:v>0.98499999999999999</c:v>
                </c:pt>
                <c:pt idx="3">
                  <c:v>0.92100000000000004</c:v>
                </c:pt>
                <c:pt idx="4">
                  <c:v>0.86099999999999999</c:v>
                </c:pt>
                <c:pt idx="5">
                  <c:v>0.61899999999999999</c:v>
                </c:pt>
                <c:pt idx="6">
                  <c:v>0.82599999999999996</c:v>
                </c:pt>
                <c:pt idx="7">
                  <c:v>0.78200000000000003</c:v>
                </c:pt>
                <c:pt idx="8">
                  <c:v>0.626</c:v>
                </c:pt>
                <c:pt idx="9">
                  <c:v>0.73499999999999999</c:v>
                </c:pt>
                <c:pt idx="10">
                  <c:v>0.65300000000000002</c:v>
                </c:pt>
                <c:pt idx="11">
                  <c:v>0.78500000000000003</c:v>
                </c:pt>
                <c:pt idx="12">
                  <c:v>0.86</c:v>
                </c:pt>
                <c:pt idx="13">
                  <c:v>0.84499999999999997</c:v>
                </c:pt>
                <c:pt idx="14">
                  <c:v>0.60599999999999998</c:v>
                </c:pt>
                <c:pt idx="15">
                  <c:v>0.43099999999999999</c:v>
                </c:pt>
                <c:pt idx="16">
                  <c:v>0.54700000000000004</c:v>
                </c:pt>
                <c:pt idx="17">
                  <c:v>0.44900000000000001</c:v>
                </c:pt>
                <c:pt idx="18">
                  <c:v>0.56200000000000006</c:v>
                </c:pt>
                <c:pt idx="19">
                  <c:v>0.873</c:v>
                </c:pt>
                <c:pt idx="20">
                  <c:v>0.54500000000000004</c:v>
                </c:pt>
                <c:pt idx="21">
                  <c:v>0.58399999999999996</c:v>
                </c:pt>
                <c:pt idx="22">
                  <c:v>0.32700000000000001</c:v>
                </c:pt>
                <c:pt idx="23">
                  <c:v>0.433</c:v>
                </c:pt>
                <c:pt idx="24">
                  <c:v>0.19800000000000001</c:v>
                </c:pt>
                <c:pt idx="25">
                  <c:v>0.16900000000000001</c:v>
                </c:pt>
                <c:pt idx="26">
                  <c:v>0.68899999999999995</c:v>
                </c:pt>
                <c:pt idx="27">
                  <c:v>0.16800000000000001</c:v>
                </c:pt>
                <c:pt idx="28">
                  <c:v>4.7E-2</c:v>
                </c:pt>
                <c:pt idx="29">
                  <c:v>6.4000000000000001E-2</c:v>
                </c:pt>
                <c:pt idx="30">
                  <c:v>0.01</c:v>
                </c:pt>
                <c:pt idx="31">
                  <c:v>0.01</c:v>
                </c:pt>
                <c:pt idx="32">
                  <c:v>0.01</c:v>
                </c:pt>
                <c:pt idx="33">
                  <c:v>8.9999999999999993E-3</c:v>
                </c:pt>
                <c:pt idx="34">
                  <c:v>8.9999999999999993E-3</c:v>
                </c:pt>
                <c:pt idx="35">
                  <c:v>0.01</c:v>
                </c:pt>
                <c:pt idx="36">
                  <c:v>0.01</c:v>
                </c:pt>
                <c:pt idx="37">
                  <c:v>0.01</c:v>
                </c:pt>
                <c:pt idx="38">
                  <c:v>8.9999999999999993E-3</c:v>
                </c:pt>
                <c:pt idx="39">
                  <c:v>0.01</c:v>
                </c:pt>
                <c:pt idx="40">
                  <c:v>8.9999999999999993E-3</c:v>
                </c:pt>
                <c:pt idx="41">
                  <c:v>0.01</c:v>
                </c:pt>
                <c:pt idx="42">
                  <c:v>0.01</c:v>
                </c:pt>
                <c:pt idx="43">
                  <c:v>0.01</c:v>
                </c:pt>
                <c:pt idx="44">
                  <c:v>0.01</c:v>
                </c:pt>
                <c:pt idx="45">
                  <c:v>8.9999999999999993E-3</c:v>
                </c:pt>
                <c:pt idx="46">
                  <c:v>8.9999999999999993E-3</c:v>
                </c:pt>
                <c:pt idx="47">
                  <c:v>8.9999999999999993E-3</c:v>
                </c:pt>
                <c:pt idx="48">
                  <c:v>8.9999999999999993E-3</c:v>
                </c:pt>
                <c:pt idx="49">
                  <c:v>8.9999999999999993E-3</c:v>
                </c:pt>
                <c:pt idx="50">
                  <c:v>8.9999999999999993E-3</c:v>
                </c:pt>
                <c:pt idx="51">
                  <c:v>8.9999999999999993E-3</c:v>
                </c:pt>
                <c:pt idx="52">
                  <c:v>8.9999999999999993E-3</c:v>
                </c:pt>
                <c:pt idx="53">
                  <c:v>8.9999999999999993E-3</c:v>
                </c:pt>
                <c:pt idx="54">
                  <c:v>8.9999999999999993E-3</c:v>
                </c:pt>
                <c:pt idx="55">
                  <c:v>8.9999999999999993E-3</c:v>
                </c:pt>
                <c:pt idx="56">
                  <c:v>8.9999999999999993E-3</c:v>
                </c:pt>
                <c:pt idx="57">
                  <c:v>8.9999999999999993E-3</c:v>
                </c:pt>
                <c:pt idx="58">
                  <c:v>8.9999999999999993E-3</c:v>
                </c:pt>
                <c:pt idx="59">
                  <c:v>8.9999999999999993E-3</c:v>
                </c:pt>
                <c:pt idx="60">
                  <c:v>8.9999999999999993E-3</c:v>
                </c:pt>
                <c:pt idx="61">
                  <c:v>8.9999999999999993E-3</c:v>
                </c:pt>
                <c:pt idx="62">
                  <c:v>8.9999999999999993E-3</c:v>
                </c:pt>
                <c:pt idx="63">
                  <c:v>8.9999999999999993E-3</c:v>
                </c:pt>
                <c:pt idx="64">
                  <c:v>8.9999999999999993E-3</c:v>
                </c:pt>
                <c:pt idx="65">
                  <c:v>8.9999999999999993E-3</c:v>
                </c:pt>
                <c:pt idx="66">
                  <c:v>8.9999999999999993E-3</c:v>
                </c:pt>
                <c:pt idx="67">
                  <c:v>8.9999999999999993E-3</c:v>
                </c:pt>
                <c:pt idx="68">
                  <c:v>8.9999999999999993E-3</c:v>
                </c:pt>
                <c:pt idx="69">
                  <c:v>8.9999999999999993E-3</c:v>
                </c:pt>
                <c:pt idx="70">
                  <c:v>8.9999999999999993E-3</c:v>
                </c:pt>
                <c:pt idx="71">
                  <c:v>8.9999999999999993E-3</c:v>
                </c:pt>
                <c:pt idx="72">
                  <c:v>8.9999999999999993E-3</c:v>
                </c:pt>
                <c:pt idx="73">
                  <c:v>8.9999999999999993E-3</c:v>
                </c:pt>
                <c:pt idx="74">
                  <c:v>8.9999999999999993E-3</c:v>
                </c:pt>
                <c:pt idx="75">
                  <c:v>8.9999999999999993E-3</c:v>
                </c:pt>
                <c:pt idx="76">
                  <c:v>8.9999999999999993E-3</c:v>
                </c:pt>
                <c:pt idx="77">
                  <c:v>8.9999999999999993E-3</c:v>
                </c:pt>
                <c:pt idx="78">
                  <c:v>1E-3</c:v>
                </c:pt>
                <c:pt idx="79">
                  <c:v>8.9999999999999993E-3</c:v>
                </c:pt>
                <c:pt idx="80">
                  <c:v>8.9999999999999993E-3</c:v>
                </c:pt>
                <c:pt idx="81">
                  <c:v>8.9999999999999993E-3</c:v>
                </c:pt>
                <c:pt idx="82">
                  <c:v>8.9999999999999993E-3</c:v>
                </c:pt>
                <c:pt idx="83">
                  <c:v>8.9999999999999993E-3</c:v>
                </c:pt>
                <c:pt idx="84">
                  <c:v>8.9999999999999993E-3</c:v>
                </c:pt>
                <c:pt idx="85">
                  <c:v>8.9999999999999993E-3</c:v>
                </c:pt>
                <c:pt idx="86">
                  <c:v>8.9999999999999993E-3</c:v>
                </c:pt>
                <c:pt idx="87">
                  <c:v>8.9999999999999993E-3</c:v>
                </c:pt>
                <c:pt idx="88">
                  <c:v>8.9999999999999993E-3</c:v>
                </c:pt>
                <c:pt idx="89">
                  <c:v>8.9999999999999993E-3</c:v>
                </c:pt>
                <c:pt idx="90">
                  <c:v>8.9999999999999993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2</c:f>
              <c:strCache>
                <c:ptCount val="91"/>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Equate</c:v>
                </c:pt>
                <c:pt idx="14">
                  <c:v>Gillet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Gillette</c:v>
                </c:pt>
                <c:pt idx="32">
                  <c:v>Dollar Shav</c:v>
                </c:pt>
                <c:pt idx="33">
                  <c:v>Gillette</c:v>
                </c:pt>
                <c:pt idx="34">
                  <c:v>Gillette</c:v>
                </c:pt>
                <c:pt idx="35">
                  <c:v>Dollar Shav</c:v>
                </c:pt>
                <c:pt idx="36">
                  <c:v>Gillette</c:v>
                </c:pt>
                <c:pt idx="37">
                  <c:v>Dollar Shav</c:v>
                </c:pt>
                <c:pt idx="38">
                  <c:v>Gillette</c:v>
                </c:pt>
                <c:pt idx="39">
                  <c:v>All Others</c:v>
                </c:pt>
                <c:pt idx="40">
                  <c:v>Schick</c:v>
                </c:pt>
                <c:pt idx="41">
                  <c:v>Equate</c:v>
                </c:pt>
                <c:pt idx="42">
                  <c:v>Van Der Hag</c:v>
                </c:pt>
                <c:pt idx="43">
                  <c:v>Gillette</c:v>
                </c:pt>
                <c:pt idx="44">
                  <c:v>Equate</c:v>
                </c:pt>
                <c:pt idx="45">
                  <c:v>Schick</c:v>
                </c:pt>
                <c:pt idx="46">
                  <c:v>Gillette</c:v>
                </c:pt>
                <c:pt idx="47">
                  <c:v>Gillette</c:v>
                </c:pt>
                <c:pt idx="48">
                  <c:v>Gillette</c:v>
                </c:pt>
                <c:pt idx="49">
                  <c:v>Gillette</c:v>
                </c:pt>
                <c:pt idx="50">
                  <c:v>Schick</c:v>
                </c:pt>
                <c:pt idx="51">
                  <c:v>Gillette</c:v>
                </c:pt>
                <c:pt idx="52">
                  <c:v>Schick</c:v>
                </c:pt>
                <c:pt idx="53">
                  <c:v>Gillette</c:v>
                </c:pt>
                <c:pt idx="54">
                  <c:v>Schick</c:v>
                </c:pt>
                <c:pt idx="55">
                  <c:v>Schick</c:v>
                </c:pt>
                <c:pt idx="56">
                  <c:v>Schick</c:v>
                </c:pt>
                <c:pt idx="57">
                  <c:v>Schick</c:v>
                </c:pt>
                <c:pt idx="58">
                  <c:v>Gillette</c:v>
                </c:pt>
                <c:pt idx="59">
                  <c:v>Gillette</c:v>
                </c:pt>
                <c:pt idx="60">
                  <c:v>Gillette</c:v>
                </c:pt>
                <c:pt idx="61">
                  <c:v>Edgewell Pe</c:v>
                </c:pt>
                <c:pt idx="62">
                  <c:v>Gillette</c:v>
                </c:pt>
                <c:pt idx="63">
                  <c:v>Gillette</c:v>
                </c:pt>
                <c:pt idx="64">
                  <c:v>Gillette</c:v>
                </c:pt>
                <c:pt idx="65">
                  <c:v>Schick</c:v>
                </c:pt>
                <c:pt idx="66">
                  <c:v>Equate</c:v>
                </c:pt>
                <c:pt idx="67">
                  <c:v>Gillette</c:v>
                </c:pt>
                <c:pt idx="68">
                  <c:v>Gillette</c:v>
                </c:pt>
                <c:pt idx="69">
                  <c:v>Gillette</c:v>
                </c:pt>
                <c:pt idx="70">
                  <c:v>Equate</c:v>
                </c:pt>
                <c:pt idx="71">
                  <c:v>Gillette</c:v>
                </c:pt>
                <c:pt idx="72">
                  <c:v>Gillette</c:v>
                </c:pt>
                <c:pt idx="73">
                  <c:v>Gillette</c:v>
                </c:pt>
                <c:pt idx="74">
                  <c:v>Schick</c:v>
                </c:pt>
                <c:pt idx="75">
                  <c:v>Edgewell Pe</c:v>
                </c:pt>
                <c:pt idx="76">
                  <c:v>Schick</c:v>
                </c:pt>
                <c:pt idx="77">
                  <c:v>Gillette</c:v>
                </c:pt>
                <c:pt idx="78">
                  <c:v>Equate</c:v>
                </c:pt>
                <c:pt idx="79">
                  <c:v>Schick</c:v>
                </c:pt>
                <c:pt idx="80">
                  <c:v>Gillette</c:v>
                </c:pt>
                <c:pt idx="81">
                  <c:v>Personna</c:v>
                </c:pt>
                <c:pt idx="82">
                  <c:v>Unilever: A</c:v>
                </c:pt>
                <c:pt idx="83">
                  <c:v>Equate</c:v>
                </c:pt>
                <c:pt idx="84">
                  <c:v>Gillette</c:v>
                </c:pt>
                <c:pt idx="85">
                  <c:v>Gillette</c:v>
                </c:pt>
                <c:pt idx="86">
                  <c:v>All Others</c:v>
                </c:pt>
                <c:pt idx="87">
                  <c:v>Procter &amp; G</c:v>
                </c:pt>
                <c:pt idx="88">
                  <c:v>Schick</c:v>
                </c:pt>
                <c:pt idx="89">
                  <c:v>Gillette</c:v>
                </c:pt>
                <c:pt idx="90">
                  <c:v>Gillette</c:v>
                </c:pt>
              </c:strCache>
            </c:strRef>
          </c:cat>
          <c:val>
            <c:numRef>
              <c:f>Sheet1!$C$2:$C$92</c:f>
              <c:numCache>
                <c:formatCode>General</c:formatCode>
                <c:ptCount val="91"/>
                <c:pt idx="0">
                  <c:v>0.14143384146150964</c:v>
                </c:pt>
                <c:pt idx="1">
                  <c:v>0.27578671817783518</c:v>
                </c:pt>
                <c:pt idx="2">
                  <c:v>0.367747969073841</c:v>
                </c:pt>
                <c:pt idx="3">
                  <c:v>0.43678954484186555</c:v>
                </c:pt>
                <c:pt idx="4">
                  <c:v>0.50488825067016418</c:v>
                </c:pt>
                <c:pt idx="5">
                  <c:v>0.56482284292780705</c:v>
                </c:pt>
                <c:pt idx="6">
                  <c:v>0.61441416302828866</c:v>
                </c:pt>
                <c:pt idx="7">
                  <c:v>0.654434595475478</c:v>
                </c:pt>
                <c:pt idx="8">
                  <c:v>0.6861577110618825</c:v>
                </c:pt>
                <c:pt idx="9">
                  <c:v>0.71716438097094082</c:v>
                </c:pt>
                <c:pt idx="10">
                  <c:v>0.74801311422107453</c:v>
                </c:pt>
                <c:pt idx="11">
                  <c:v>0.77596575415883595</c:v>
                </c:pt>
                <c:pt idx="12">
                  <c:v>0.79996036313767205</c:v>
                </c:pt>
                <c:pt idx="13">
                  <c:v>0.82379785227266578</c:v>
                </c:pt>
                <c:pt idx="14">
                  <c:v>0.84754919082838176</c:v>
                </c:pt>
                <c:pt idx="15">
                  <c:v>0.87067851689501596</c:v>
                </c:pt>
                <c:pt idx="16">
                  <c:v>0.8918365820228249</c:v>
                </c:pt>
                <c:pt idx="17">
                  <c:v>0.90954885289585408</c:v>
                </c:pt>
                <c:pt idx="18">
                  <c:v>0.92580384241988845</c:v>
                </c:pt>
                <c:pt idx="19">
                  <c:v>0.9393133915891051</c:v>
                </c:pt>
                <c:pt idx="20">
                  <c:v>0.95233185800401265</c:v>
                </c:pt>
                <c:pt idx="21">
                  <c:v>0.96404047559094563</c:v>
                </c:pt>
                <c:pt idx="22">
                  <c:v>0.97401426638817312</c:v>
                </c:pt>
                <c:pt idx="23">
                  <c:v>0.98248799969878753</c:v>
                </c:pt>
                <c:pt idx="24">
                  <c:v>0.98890528918305243</c:v>
                </c:pt>
                <c:pt idx="25">
                  <c:v>0.99392708911916083</c:v>
                </c:pt>
                <c:pt idx="26">
                  <c:v>0.9975953900455119</c:v>
                </c:pt>
                <c:pt idx="27">
                  <c:v>0.99906699427298673</c:v>
                </c:pt>
                <c:pt idx="28">
                  <c:v>0.99959318446790002</c:v>
                </c:pt>
                <c:pt idx="29">
                  <c:v>0.99981794908689603</c:v>
                </c:pt>
                <c:pt idx="30">
                  <c:v>0.99984731280870554</c:v>
                </c:pt>
                <c:pt idx="31">
                  <c:v>0.99987336244639158</c:v>
                </c:pt>
                <c:pt idx="32">
                  <c:v>0.99989478173106372</c:v>
                </c:pt>
                <c:pt idx="33">
                  <c:v>0.99991246031481795</c:v>
                </c:pt>
                <c:pt idx="34">
                  <c:v>0.99992520679221575</c:v>
                </c:pt>
                <c:pt idx="35">
                  <c:v>0.99993671504038062</c:v>
                </c:pt>
                <c:pt idx="36">
                  <c:v>0.99994793714313457</c:v>
                </c:pt>
                <c:pt idx="37">
                  <c:v>0.9999567088006418</c:v>
                </c:pt>
                <c:pt idx="38">
                  <c:v>0.99996103740031317</c:v>
                </c:pt>
                <c:pt idx="39">
                  <c:v>0.99996530356825852</c:v>
                </c:pt>
                <c:pt idx="40">
                  <c:v>0.99996950730447787</c:v>
                </c:pt>
                <c:pt idx="41">
                  <c:v>0.99997356016402594</c:v>
                </c:pt>
                <c:pt idx="42">
                  <c:v>0.99997749336276587</c:v>
                </c:pt>
                <c:pt idx="43">
                  <c:v>0.9999809739314921</c:v>
                </c:pt>
                <c:pt idx="44">
                  <c:v>0.99998280526212235</c:v>
                </c:pt>
                <c:pt idx="45">
                  <c:v>0.99998449612136897</c:v>
                </c:pt>
                <c:pt idx="46">
                  <c:v>0.99998614535946495</c:v>
                </c:pt>
                <c:pt idx="47">
                  <c:v>0.99998756047858828</c:v>
                </c:pt>
                <c:pt idx="48">
                  <c:v>0.99998896519242397</c:v>
                </c:pt>
                <c:pt idx="49">
                  <c:v>0.99999022423223227</c:v>
                </c:pt>
                <c:pt idx="50">
                  <c:v>0.99999130638215017</c:v>
                </c:pt>
                <c:pt idx="51">
                  <c:v>0.99999225846597217</c:v>
                </c:pt>
                <c:pt idx="52">
                  <c:v>0.99999316892864343</c:v>
                </c:pt>
                <c:pt idx="53">
                  <c:v>0.99999390770406815</c:v>
                </c:pt>
                <c:pt idx="54">
                  <c:v>0.9999944643869586</c:v>
                </c:pt>
                <c:pt idx="55">
                  <c:v>0.99999495863812304</c:v>
                </c:pt>
                <c:pt idx="56">
                  <c:v>0.99999542167342448</c:v>
                </c:pt>
                <c:pt idx="57">
                  <c:v>0.99999579626378066</c:v>
                </c:pt>
                <c:pt idx="58">
                  <c:v>0.99999610321976695</c:v>
                </c:pt>
                <c:pt idx="59">
                  <c:v>0.99999641017575325</c:v>
                </c:pt>
                <c:pt idx="60">
                  <c:v>0.99999671192909567</c:v>
                </c:pt>
                <c:pt idx="61">
                  <c:v>0.9999970136824381</c:v>
                </c:pt>
                <c:pt idx="62">
                  <c:v>0.99999731023313676</c:v>
                </c:pt>
                <c:pt idx="63">
                  <c:v>0.99999760158119155</c:v>
                </c:pt>
                <c:pt idx="64">
                  <c:v>0.99999784090280797</c:v>
                </c:pt>
                <c:pt idx="65">
                  <c:v>0.99999803860327374</c:v>
                </c:pt>
                <c:pt idx="66">
                  <c:v>0.99999823110109565</c:v>
                </c:pt>
                <c:pt idx="67">
                  <c:v>0.99999841839627379</c:v>
                </c:pt>
                <c:pt idx="68">
                  <c:v>0.99999859528616419</c:v>
                </c:pt>
                <c:pt idx="69">
                  <c:v>0.99999876177076696</c:v>
                </c:pt>
                <c:pt idx="70">
                  <c:v>0.99999890224215049</c:v>
                </c:pt>
                <c:pt idx="71">
                  <c:v>0.99999903751089025</c:v>
                </c:pt>
                <c:pt idx="72">
                  <c:v>0.99999917277963002</c:v>
                </c:pt>
                <c:pt idx="73">
                  <c:v>0.99999930284572591</c:v>
                </c:pt>
                <c:pt idx="74">
                  <c:v>0.99999941210124643</c:v>
                </c:pt>
                <c:pt idx="75">
                  <c:v>0.99999952135676695</c:v>
                </c:pt>
                <c:pt idx="76">
                  <c:v>0.99999960980171221</c:v>
                </c:pt>
                <c:pt idx="77">
                  <c:v>0.99999969824665746</c:v>
                </c:pt>
                <c:pt idx="78">
                  <c:v>0.99999977628631498</c:v>
                </c:pt>
                <c:pt idx="79">
                  <c:v>0.99999984392068486</c:v>
                </c:pt>
                <c:pt idx="80">
                  <c:v>0.99999987513654787</c:v>
                </c:pt>
                <c:pt idx="81">
                  <c:v>0.999999901149767</c:v>
                </c:pt>
                <c:pt idx="82">
                  <c:v>0.99999992196034238</c:v>
                </c:pt>
                <c:pt idx="83">
                  <c:v>0.99999993756827388</c:v>
                </c:pt>
                <c:pt idx="84">
                  <c:v>0.99999994797356151</c:v>
                </c:pt>
                <c:pt idx="85">
                  <c:v>0.99999995837884914</c:v>
                </c:pt>
                <c:pt idx="86">
                  <c:v>0.99999996878413677</c:v>
                </c:pt>
                <c:pt idx="87">
                  <c:v>0.9999999791894244</c:v>
                </c:pt>
                <c:pt idx="88">
                  <c:v>0.99999998959471204</c:v>
                </c:pt>
                <c:pt idx="89">
                  <c:v>0.99999999479735591</c:v>
                </c:pt>
                <c:pt idx="90">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8060561431334312</c:v>
                </c:pt>
                <c:pt idx="1">
                  <c:v>0.40033726926049551</c:v>
                </c:pt>
                <c:pt idx="2">
                  <c:v>1.90571164261613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37800687285223367</c:v>
                </c:pt>
                <c:pt idx="1">
                  <c:v>0.5807560137457044</c:v>
                </c:pt>
                <c:pt idx="2">
                  <c:v>4.123711340206185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65.105617915749207</c:v>
                </c:pt>
                <c:pt idx="1">
                  <c:v>145.06668710072361</c:v>
                </c:pt>
                <c:pt idx="2">
                  <c:v>216.386952149025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Gillette</c:v>
                </c:pt>
                <c:pt idx="2">
                  <c:v>Gillette</c:v>
                </c:pt>
                <c:pt idx="3">
                  <c:v>Gillette</c:v>
                </c:pt>
                <c:pt idx="4">
                  <c:v>Gillette</c:v>
                </c:pt>
                <c:pt idx="5">
                  <c:v>All Others</c:v>
                </c:pt>
              </c:strCache>
            </c:strRef>
          </c:cat>
          <c:val>
            <c:numRef>
              <c:f>Sheet1!$B$2:$B$7</c:f>
              <c:numCache>
                <c:formatCode>General</c:formatCode>
                <c:ptCount val="6"/>
                <c:pt idx="0">
                  <c:v>0.94</c:v>
                </c:pt>
                <c:pt idx="1">
                  <c:v>0.94</c:v>
                </c:pt>
                <c:pt idx="2">
                  <c:v>0.8</c:v>
                </c:pt>
                <c:pt idx="3">
                  <c:v>0.27</c:v>
                </c:pt>
                <c:pt idx="4">
                  <c:v>0.01</c:v>
                </c:pt>
                <c:pt idx="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Gillette</c:v>
                </c:pt>
                <c:pt idx="2">
                  <c:v>Gillette</c:v>
                </c:pt>
                <c:pt idx="3">
                  <c:v>Gillette</c:v>
                </c:pt>
                <c:pt idx="4">
                  <c:v>Gillette</c:v>
                </c:pt>
                <c:pt idx="5">
                  <c:v>All Others</c:v>
                </c:pt>
              </c:strCache>
            </c:strRef>
          </c:cat>
          <c:val>
            <c:numRef>
              <c:f>Sheet1!$C$2:$C$7</c:f>
              <c:numCache>
                <c:formatCode>General</c:formatCode>
                <c:ptCount val="6"/>
                <c:pt idx="0">
                  <c:v>0.62970481321161254</c:v>
                </c:pt>
                <c:pt idx="1">
                  <c:v>0.88577830352016507</c:v>
                </c:pt>
                <c:pt idx="2">
                  <c:v>0.98833081359863539</c:v>
                </c:pt>
                <c:pt idx="3">
                  <c:v>0.99991674529862551</c:v>
                </c:pt>
                <c:pt idx="4">
                  <c:v>0.99999980052238835</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Gillette</c:v>
                </c:pt>
                <c:pt idx="1">
                  <c:v>Gillette</c:v>
                </c:pt>
                <c:pt idx="2">
                  <c:v>Gillette</c:v>
                </c:pt>
                <c:pt idx="3">
                  <c:v>Gillette</c:v>
                </c:pt>
                <c:pt idx="4">
                  <c:v>Gillette</c:v>
                </c:pt>
              </c:strCache>
            </c:strRef>
          </c:cat>
          <c:val>
            <c:numRef>
              <c:f>Sheet1!$B$2:$B$6</c:f>
              <c:numCache>
                <c:formatCode>General</c:formatCode>
                <c:ptCount val="5"/>
                <c:pt idx="0">
                  <c:v>1</c:v>
                </c:pt>
                <c:pt idx="1">
                  <c:v>1</c:v>
                </c:pt>
                <c:pt idx="2">
                  <c:v>0.77</c:v>
                </c:pt>
                <c:pt idx="3">
                  <c:v>0.77</c:v>
                </c:pt>
                <c:pt idx="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Gillette</c:v>
                </c:pt>
                <c:pt idx="1">
                  <c:v>Gillette</c:v>
                </c:pt>
                <c:pt idx="2">
                  <c:v>Gillette</c:v>
                </c:pt>
                <c:pt idx="3">
                  <c:v>Gillette</c:v>
                </c:pt>
                <c:pt idx="4">
                  <c:v>Gillette</c:v>
                </c:pt>
              </c:strCache>
            </c:strRef>
          </c:cat>
          <c:val>
            <c:numRef>
              <c:f>Sheet1!$C$2:$C$6</c:f>
              <c:numCache>
                <c:formatCode>General</c:formatCode>
                <c:ptCount val="5"/>
                <c:pt idx="0">
                  <c:v>0.65217507266051911</c:v>
                </c:pt>
                <c:pt idx="1">
                  <c:v>0.95621699016522888</c:v>
                </c:pt>
                <c:pt idx="2">
                  <c:v>0.98273548491214358</c:v>
                </c:pt>
                <c:pt idx="3">
                  <c:v>0.99999913765199255</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5</c:f>
              <c:strCache>
                <c:ptCount val="44"/>
                <c:pt idx="0">
                  <c:v>Gillette</c:v>
                </c:pt>
                <c:pt idx="1">
                  <c:v>Harry's</c:v>
                </c:pt>
                <c:pt idx="2">
                  <c:v>Gillette</c:v>
                </c:pt>
                <c:pt idx="3">
                  <c:v>Gillette</c:v>
                </c:pt>
                <c:pt idx="4">
                  <c:v>Harry's</c:v>
                </c:pt>
                <c:pt idx="5">
                  <c:v>Gillette</c:v>
                </c:pt>
                <c:pt idx="6">
                  <c:v>Gillette</c:v>
                </c:pt>
                <c:pt idx="7">
                  <c:v>Gillette</c:v>
                </c:pt>
                <c:pt idx="8">
                  <c:v>Schick</c:v>
                </c:pt>
                <c:pt idx="9">
                  <c:v>Equate</c:v>
                </c:pt>
                <c:pt idx="10">
                  <c:v>Harry's</c:v>
                </c:pt>
                <c:pt idx="11">
                  <c:v>Dollar Shav</c:v>
                </c:pt>
                <c:pt idx="12">
                  <c:v>Gillette</c:v>
                </c:pt>
                <c:pt idx="13">
                  <c:v>Gillette</c:v>
                </c:pt>
                <c:pt idx="14">
                  <c:v>Gillette</c:v>
                </c:pt>
                <c:pt idx="15">
                  <c:v>Gillette</c:v>
                </c:pt>
                <c:pt idx="16">
                  <c:v>Gillette</c:v>
                </c:pt>
                <c:pt idx="17">
                  <c:v>Dollar Shav</c:v>
                </c:pt>
                <c:pt idx="18">
                  <c:v>Equate</c:v>
                </c:pt>
                <c:pt idx="19">
                  <c:v>Gillette</c:v>
                </c:pt>
                <c:pt idx="20">
                  <c:v>Gillette</c:v>
                </c:pt>
                <c:pt idx="21">
                  <c:v>Gillette</c:v>
                </c:pt>
                <c:pt idx="22">
                  <c:v>Equate</c:v>
                </c:pt>
                <c:pt idx="23">
                  <c:v>Gillette</c:v>
                </c:pt>
                <c:pt idx="24">
                  <c:v>Van Der Hag</c:v>
                </c:pt>
                <c:pt idx="25">
                  <c:v>Gillette</c:v>
                </c:pt>
                <c:pt idx="26">
                  <c:v>Schick</c:v>
                </c:pt>
                <c:pt idx="27">
                  <c:v>Schick</c:v>
                </c:pt>
                <c:pt idx="28">
                  <c:v>Gillette</c:v>
                </c:pt>
                <c:pt idx="29">
                  <c:v>Dollar Shav</c:v>
                </c:pt>
                <c:pt idx="30">
                  <c:v>Dollar Shav</c:v>
                </c:pt>
                <c:pt idx="31">
                  <c:v>Equate</c:v>
                </c:pt>
                <c:pt idx="32">
                  <c:v>Cremo</c:v>
                </c:pt>
                <c:pt idx="33">
                  <c:v>Equate</c:v>
                </c:pt>
                <c:pt idx="34">
                  <c:v>Van Der Hag</c:v>
                </c:pt>
                <c:pt idx="35">
                  <c:v>Dollar Shav</c:v>
                </c:pt>
                <c:pt idx="36">
                  <c:v>Gillette</c:v>
                </c:pt>
                <c:pt idx="37">
                  <c:v>Gillette</c:v>
                </c:pt>
                <c:pt idx="38">
                  <c:v>Gillette</c:v>
                </c:pt>
                <c:pt idx="39">
                  <c:v>All Others</c:v>
                </c:pt>
                <c:pt idx="40">
                  <c:v>Schick</c:v>
                </c:pt>
                <c:pt idx="41">
                  <c:v>Gillette</c:v>
                </c:pt>
                <c:pt idx="42">
                  <c:v>Schick</c:v>
                </c:pt>
                <c:pt idx="43">
                  <c:v>Gillette</c:v>
                </c:pt>
              </c:strCache>
            </c:strRef>
          </c:cat>
          <c:val>
            <c:numRef>
              <c:f>Sheet1!$B$2:$B$45</c:f>
              <c:numCache>
                <c:formatCode>General</c:formatCode>
                <c:ptCount val="44"/>
                <c:pt idx="0">
                  <c:v>0.93</c:v>
                </c:pt>
                <c:pt idx="1">
                  <c:v>0.95</c:v>
                </c:pt>
                <c:pt idx="2">
                  <c:v>0.91</c:v>
                </c:pt>
                <c:pt idx="3">
                  <c:v>0.55000000000000004</c:v>
                </c:pt>
                <c:pt idx="4">
                  <c:v>0.66</c:v>
                </c:pt>
                <c:pt idx="5">
                  <c:v>0.56999999999999995</c:v>
                </c:pt>
                <c:pt idx="6">
                  <c:v>0.28000000000000003</c:v>
                </c:pt>
                <c:pt idx="7">
                  <c:v>0.48</c:v>
                </c:pt>
                <c:pt idx="8">
                  <c:v>0.56000000000000005</c:v>
                </c:pt>
                <c:pt idx="9">
                  <c:v>0.65</c:v>
                </c:pt>
                <c:pt idx="10">
                  <c:v>0.42</c:v>
                </c:pt>
                <c:pt idx="11">
                  <c:v>0.61</c:v>
                </c:pt>
                <c:pt idx="12">
                  <c:v>0.31</c:v>
                </c:pt>
                <c:pt idx="13">
                  <c:v>0.23</c:v>
                </c:pt>
                <c:pt idx="14">
                  <c:v>0.26</c:v>
                </c:pt>
                <c:pt idx="15">
                  <c:v>0.21</c:v>
                </c:pt>
                <c:pt idx="16">
                  <c:v>0.14000000000000001</c:v>
                </c:pt>
                <c:pt idx="17">
                  <c:v>0.27</c:v>
                </c:pt>
                <c:pt idx="18">
                  <c:v>0.4</c:v>
                </c:pt>
                <c:pt idx="19">
                  <c:v>0.21</c:v>
                </c:pt>
                <c:pt idx="20">
                  <c:v>0.16</c:v>
                </c:pt>
                <c:pt idx="21">
                  <c:v>0.08</c:v>
                </c:pt>
                <c:pt idx="22">
                  <c:v>0.41</c:v>
                </c:pt>
                <c:pt idx="23">
                  <c:v>0.06</c:v>
                </c:pt>
                <c:pt idx="24">
                  <c:v>0.13</c:v>
                </c:pt>
                <c:pt idx="25">
                  <c:v>0.01</c:v>
                </c:pt>
                <c:pt idx="26">
                  <c:v>0.01</c:v>
                </c:pt>
                <c:pt idx="27">
                  <c:v>0.01</c:v>
                </c:pt>
                <c:pt idx="28">
                  <c:v>0.01</c:v>
                </c:pt>
                <c:pt idx="29">
                  <c:v>0.01</c:v>
                </c:pt>
                <c:pt idx="30">
                  <c:v>0.01</c:v>
                </c:pt>
                <c:pt idx="31">
                  <c:v>0.01</c:v>
                </c:pt>
                <c:pt idx="32">
                  <c:v>0.01</c:v>
                </c:pt>
                <c:pt idx="33">
                  <c:v>0.01</c:v>
                </c:pt>
                <c:pt idx="34">
                  <c:v>0.01</c:v>
                </c:pt>
                <c:pt idx="35">
                  <c:v>0.01</c:v>
                </c:pt>
                <c:pt idx="36">
                  <c:v>0.01</c:v>
                </c:pt>
                <c:pt idx="37">
                  <c:v>0.01</c:v>
                </c:pt>
                <c:pt idx="38">
                  <c:v>0.01</c:v>
                </c:pt>
                <c:pt idx="39">
                  <c:v>0.01</c:v>
                </c:pt>
                <c:pt idx="40">
                  <c:v>0.01</c:v>
                </c:pt>
                <c:pt idx="41">
                  <c:v>0.01</c:v>
                </c:pt>
                <c:pt idx="42">
                  <c:v>0.01</c:v>
                </c:pt>
                <c:pt idx="4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5</c:f>
              <c:strCache>
                <c:ptCount val="44"/>
                <c:pt idx="0">
                  <c:v>Gillette</c:v>
                </c:pt>
                <c:pt idx="1">
                  <c:v>Harry's</c:v>
                </c:pt>
                <c:pt idx="2">
                  <c:v>Gillette</c:v>
                </c:pt>
                <c:pt idx="3">
                  <c:v>Gillette</c:v>
                </c:pt>
                <c:pt idx="4">
                  <c:v>Harry's</c:v>
                </c:pt>
                <c:pt idx="5">
                  <c:v>Gillette</c:v>
                </c:pt>
                <c:pt idx="6">
                  <c:v>Gillette</c:v>
                </c:pt>
                <c:pt idx="7">
                  <c:v>Gillette</c:v>
                </c:pt>
                <c:pt idx="8">
                  <c:v>Schick</c:v>
                </c:pt>
                <c:pt idx="9">
                  <c:v>Equate</c:v>
                </c:pt>
                <c:pt idx="10">
                  <c:v>Harry's</c:v>
                </c:pt>
                <c:pt idx="11">
                  <c:v>Dollar Shav</c:v>
                </c:pt>
                <c:pt idx="12">
                  <c:v>Gillette</c:v>
                </c:pt>
                <c:pt idx="13">
                  <c:v>Gillette</c:v>
                </c:pt>
                <c:pt idx="14">
                  <c:v>Gillette</c:v>
                </c:pt>
                <c:pt idx="15">
                  <c:v>Gillette</c:v>
                </c:pt>
                <c:pt idx="16">
                  <c:v>Gillette</c:v>
                </c:pt>
                <c:pt idx="17">
                  <c:v>Dollar Shav</c:v>
                </c:pt>
                <c:pt idx="18">
                  <c:v>Equate</c:v>
                </c:pt>
                <c:pt idx="19">
                  <c:v>Gillette</c:v>
                </c:pt>
                <c:pt idx="20">
                  <c:v>Gillette</c:v>
                </c:pt>
                <c:pt idx="21">
                  <c:v>Gillette</c:v>
                </c:pt>
                <c:pt idx="22">
                  <c:v>Equate</c:v>
                </c:pt>
                <c:pt idx="23">
                  <c:v>Gillette</c:v>
                </c:pt>
                <c:pt idx="24">
                  <c:v>Van Der Hag</c:v>
                </c:pt>
                <c:pt idx="25">
                  <c:v>Gillette</c:v>
                </c:pt>
                <c:pt idx="26">
                  <c:v>Schick</c:v>
                </c:pt>
                <c:pt idx="27">
                  <c:v>Schick</c:v>
                </c:pt>
                <c:pt idx="28">
                  <c:v>Gillette</c:v>
                </c:pt>
                <c:pt idx="29">
                  <c:v>Dollar Shav</c:v>
                </c:pt>
                <c:pt idx="30">
                  <c:v>Dollar Shav</c:v>
                </c:pt>
                <c:pt idx="31">
                  <c:v>Equate</c:v>
                </c:pt>
                <c:pt idx="32">
                  <c:v>Cremo</c:v>
                </c:pt>
                <c:pt idx="33">
                  <c:v>Equate</c:v>
                </c:pt>
                <c:pt idx="34">
                  <c:v>Van Der Hag</c:v>
                </c:pt>
                <c:pt idx="35">
                  <c:v>Dollar Shav</c:v>
                </c:pt>
                <c:pt idx="36">
                  <c:v>Gillette</c:v>
                </c:pt>
                <c:pt idx="37">
                  <c:v>Gillette</c:v>
                </c:pt>
                <c:pt idx="38">
                  <c:v>Gillette</c:v>
                </c:pt>
                <c:pt idx="39">
                  <c:v>All Others</c:v>
                </c:pt>
                <c:pt idx="40">
                  <c:v>Schick</c:v>
                </c:pt>
                <c:pt idx="41">
                  <c:v>Gillette</c:v>
                </c:pt>
                <c:pt idx="42">
                  <c:v>Schick</c:v>
                </c:pt>
                <c:pt idx="43">
                  <c:v>Gillette</c:v>
                </c:pt>
              </c:strCache>
            </c:strRef>
          </c:cat>
          <c:val>
            <c:numRef>
              <c:f>Sheet1!$C$2:$C$45</c:f>
              <c:numCache>
                <c:formatCode>General</c:formatCode>
                <c:ptCount val="44"/>
                <c:pt idx="0">
                  <c:v>0.16108026992741747</c:v>
                </c:pt>
                <c:pt idx="1">
                  <c:v>0.30315545610119499</c:v>
                </c:pt>
                <c:pt idx="2">
                  <c:v>0.40955877189211232</c:v>
                </c:pt>
                <c:pt idx="3">
                  <c:v>0.49073444901101904</c:v>
                </c:pt>
                <c:pt idx="4">
                  <c:v>0.55986653420206978</c:v>
                </c:pt>
                <c:pt idx="5">
                  <c:v>0.61429565218744586</c:v>
                </c:pt>
                <c:pt idx="6">
                  <c:v>0.66229980276210865</c:v>
                </c:pt>
                <c:pt idx="7">
                  <c:v>0.70283784065069244</c:v>
                </c:pt>
                <c:pt idx="8">
                  <c:v>0.74264170771169224</c:v>
                </c:pt>
                <c:pt idx="9">
                  <c:v>0.77384892849771414</c:v>
                </c:pt>
                <c:pt idx="10">
                  <c:v>0.80381424505392773</c:v>
                </c:pt>
                <c:pt idx="11">
                  <c:v>0.83202836770714406</c:v>
                </c:pt>
                <c:pt idx="12">
                  <c:v>0.85791722700526973</c:v>
                </c:pt>
                <c:pt idx="13">
                  <c:v>0.88216781931227217</c:v>
                </c:pt>
                <c:pt idx="14">
                  <c:v>0.90259193038488716</c:v>
                </c:pt>
                <c:pt idx="15">
                  <c:v>0.91948369543543773</c:v>
                </c:pt>
                <c:pt idx="16">
                  <c:v>0.93591519334818651</c:v>
                </c:pt>
                <c:pt idx="17">
                  <c:v>0.95111081758111515</c:v>
                </c:pt>
                <c:pt idx="18">
                  <c:v>0.96419049690370151</c:v>
                </c:pt>
                <c:pt idx="19">
                  <c:v>0.97521920562872066</c:v>
                </c:pt>
                <c:pt idx="20">
                  <c:v>0.98352482923330486</c:v>
                </c:pt>
                <c:pt idx="21">
                  <c:v>0.9901218618525498</c:v>
                </c:pt>
                <c:pt idx="22">
                  <c:v>0.99470128643303268</c:v>
                </c:pt>
                <c:pt idx="23">
                  <c:v>0.99880945271202581</c:v>
                </c:pt>
                <c:pt idx="24">
                  <c:v>0.999638945136196</c:v>
                </c:pt>
                <c:pt idx="25">
                  <c:v>0.99973368313117039</c:v>
                </c:pt>
                <c:pt idx="26">
                  <c:v>0.99982258511002731</c:v>
                </c:pt>
                <c:pt idx="27">
                  <c:v>0.99990419206873726</c:v>
                </c:pt>
                <c:pt idx="28">
                  <c:v>0.99992841153562495</c:v>
                </c:pt>
                <c:pt idx="29">
                  <c:v>0.99995175560009508</c:v>
                </c:pt>
                <c:pt idx="30">
                  <c:v>0.99996021782346545</c:v>
                </c:pt>
                <c:pt idx="31">
                  <c:v>0.99996683197506531</c:v>
                </c:pt>
                <c:pt idx="32">
                  <c:v>0.99997344612666517</c:v>
                </c:pt>
                <c:pt idx="33">
                  <c:v>0.99997860127423566</c:v>
                </c:pt>
                <c:pt idx="34">
                  <c:v>0.99998365915487086</c:v>
                </c:pt>
                <c:pt idx="35">
                  <c:v>0.99998832796776493</c:v>
                </c:pt>
                <c:pt idx="36">
                  <c:v>0.99999251044598247</c:v>
                </c:pt>
                <c:pt idx="37">
                  <c:v>0.99999465031855894</c:v>
                </c:pt>
                <c:pt idx="38">
                  <c:v>0.99999640112339416</c:v>
                </c:pt>
                <c:pt idx="39">
                  <c:v>0.99999766559355296</c:v>
                </c:pt>
                <c:pt idx="40">
                  <c:v>0.99999863826290591</c:v>
                </c:pt>
                <c:pt idx="41">
                  <c:v>0.99999961093225886</c:v>
                </c:pt>
                <c:pt idx="42">
                  <c:v>0.99999990273306472</c:v>
                </c:pt>
                <c:pt idx="4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c:f>
              <c:strCache>
                <c:ptCount val="55"/>
                <c:pt idx="0">
                  <c:v>Gillette</c:v>
                </c:pt>
                <c:pt idx="1">
                  <c:v>Harry's</c:v>
                </c:pt>
                <c:pt idx="2">
                  <c:v>Gillette</c:v>
                </c:pt>
                <c:pt idx="3">
                  <c:v>Gillette</c:v>
                </c:pt>
                <c:pt idx="4">
                  <c:v>Harry's</c:v>
                </c:pt>
                <c:pt idx="5">
                  <c:v>Gillette</c:v>
                </c:pt>
                <c:pt idx="6">
                  <c:v>Gillette</c:v>
                </c:pt>
                <c:pt idx="7">
                  <c:v>Harry's</c:v>
                </c:pt>
                <c:pt idx="8">
                  <c:v>Gillette</c:v>
                </c:pt>
                <c:pt idx="9">
                  <c:v>Gillette</c:v>
                </c:pt>
                <c:pt idx="10">
                  <c:v>Schick</c:v>
                </c:pt>
                <c:pt idx="11">
                  <c:v>Gillette</c:v>
                </c:pt>
                <c:pt idx="12">
                  <c:v>Gillette</c:v>
                </c:pt>
                <c:pt idx="13">
                  <c:v>Equate</c:v>
                </c:pt>
                <c:pt idx="14">
                  <c:v>Gillette</c:v>
                </c:pt>
                <c:pt idx="15">
                  <c:v>Gillette</c:v>
                </c:pt>
                <c:pt idx="16">
                  <c:v>Dollar Shav</c:v>
                </c:pt>
                <c:pt idx="17">
                  <c:v>Van Der Hag</c:v>
                </c:pt>
                <c:pt idx="18">
                  <c:v>Dollar Shav</c:v>
                </c:pt>
                <c:pt idx="19">
                  <c:v>Schick</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Van Der Hag</c:v>
                </c:pt>
                <c:pt idx="33">
                  <c:v>Dollar Shav</c:v>
                </c:pt>
                <c:pt idx="34">
                  <c:v>Gillette</c:v>
                </c:pt>
                <c:pt idx="35">
                  <c:v>Gillette</c:v>
                </c:pt>
                <c:pt idx="36">
                  <c:v>Dollar Shav</c:v>
                </c:pt>
                <c:pt idx="37">
                  <c:v>Gillette</c:v>
                </c:pt>
                <c:pt idx="38">
                  <c:v>Equate</c:v>
                </c:pt>
                <c:pt idx="39">
                  <c:v>Gillette</c:v>
                </c:pt>
                <c:pt idx="40">
                  <c:v>Schick</c:v>
                </c:pt>
                <c:pt idx="41">
                  <c:v>Equate</c:v>
                </c:pt>
                <c:pt idx="42">
                  <c:v>Gillette</c:v>
                </c:pt>
                <c:pt idx="43">
                  <c:v>Gillette</c:v>
                </c:pt>
                <c:pt idx="44">
                  <c:v>Schick</c:v>
                </c:pt>
                <c:pt idx="45">
                  <c:v>Gillette</c:v>
                </c:pt>
                <c:pt idx="46">
                  <c:v>Gillette</c:v>
                </c:pt>
                <c:pt idx="47">
                  <c:v>Equate</c:v>
                </c:pt>
                <c:pt idx="48">
                  <c:v>Schick</c:v>
                </c:pt>
                <c:pt idx="49">
                  <c:v>All Others</c:v>
                </c:pt>
                <c:pt idx="50">
                  <c:v>Schick</c:v>
                </c:pt>
                <c:pt idx="51">
                  <c:v>Gillette</c:v>
                </c:pt>
                <c:pt idx="52">
                  <c:v>Gillette</c:v>
                </c:pt>
                <c:pt idx="53">
                  <c:v>Gillette</c:v>
                </c:pt>
                <c:pt idx="54">
                  <c:v>Schick</c:v>
                </c:pt>
              </c:strCache>
            </c:strRef>
          </c:cat>
          <c:val>
            <c:numRef>
              <c:f>Sheet1!$B$2:$B$56</c:f>
              <c:numCache>
                <c:formatCode>General</c:formatCode>
                <c:ptCount val="55"/>
                <c:pt idx="0">
                  <c:v>0.99</c:v>
                </c:pt>
                <c:pt idx="1">
                  <c:v>0.99</c:v>
                </c:pt>
                <c:pt idx="2">
                  <c:v>0.99</c:v>
                </c:pt>
                <c:pt idx="3">
                  <c:v>0.88</c:v>
                </c:pt>
                <c:pt idx="4">
                  <c:v>0.9</c:v>
                </c:pt>
                <c:pt idx="5">
                  <c:v>0.87</c:v>
                </c:pt>
                <c:pt idx="6">
                  <c:v>0.52</c:v>
                </c:pt>
                <c:pt idx="7">
                  <c:v>0.74</c:v>
                </c:pt>
                <c:pt idx="8">
                  <c:v>0.76</c:v>
                </c:pt>
                <c:pt idx="9">
                  <c:v>0.68</c:v>
                </c:pt>
                <c:pt idx="10">
                  <c:v>0.79</c:v>
                </c:pt>
                <c:pt idx="11">
                  <c:v>0.54</c:v>
                </c:pt>
                <c:pt idx="12">
                  <c:v>0.53</c:v>
                </c:pt>
                <c:pt idx="13">
                  <c:v>0.83</c:v>
                </c:pt>
                <c:pt idx="14">
                  <c:v>0.32</c:v>
                </c:pt>
                <c:pt idx="15">
                  <c:v>0.54</c:v>
                </c:pt>
                <c:pt idx="16">
                  <c:v>0.83</c:v>
                </c:pt>
                <c:pt idx="17">
                  <c:v>0.8</c:v>
                </c:pt>
                <c:pt idx="18">
                  <c:v>0.47</c:v>
                </c:pt>
                <c:pt idx="19">
                  <c:v>0.31</c:v>
                </c:pt>
                <c:pt idx="20">
                  <c:v>0.52</c:v>
                </c:pt>
                <c:pt idx="21">
                  <c:v>0.54</c:v>
                </c:pt>
                <c:pt idx="22">
                  <c:v>0.31</c:v>
                </c:pt>
                <c:pt idx="23">
                  <c:v>0.33</c:v>
                </c:pt>
                <c:pt idx="24">
                  <c:v>0.23</c:v>
                </c:pt>
                <c:pt idx="25">
                  <c:v>0.17</c:v>
                </c:pt>
                <c:pt idx="26">
                  <c:v>0.67</c:v>
                </c:pt>
                <c:pt idx="27">
                  <c:v>0.15</c:v>
                </c:pt>
                <c:pt idx="28">
                  <c:v>0.04</c:v>
                </c:pt>
                <c:pt idx="29">
                  <c:v>0.04</c:v>
                </c:pt>
                <c:pt idx="30">
                  <c:v>0.01</c:v>
                </c:pt>
                <c:pt idx="31">
                  <c:v>0.01</c:v>
                </c:pt>
                <c:pt idx="32">
                  <c:v>0.01</c:v>
                </c:pt>
                <c:pt idx="33">
                  <c:v>0.01</c:v>
                </c:pt>
                <c:pt idx="34">
                  <c:v>0.01</c:v>
                </c:pt>
                <c:pt idx="35">
                  <c:v>0.01</c:v>
                </c:pt>
                <c:pt idx="36">
                  <c:v>0.01</c:v>
                </c:pt>
                <c:pt idx="37">
                  <c:v>0.01</c:v>
                </c:pt>
                <c:pt idx="38">
                  <c:v>0.01</c:v>
                </c:pt>
                <c:pt idx="39">
                  <c:v>0.01</c:v>
                </c:pt>
                <c:pt idx="40">
                  <c:v>0.01</c:v>
                </c:pt>
                <c:pt idx="41">
                  <c:v>0.01</c:v>
                </c:pt>
                <c:pt idx="42">
                  <c:v>0.01</c:v>
                </c:pt>
                <c:pt idx="43">
                  <c:v>0.01</c:v>
                </c:pt>
                <c:pt idx="44">
                  <c:v>0.01</c:v>
                </c:pt>
                <c:pt idx="45">
                  <c:v>0.01</c:v>
                </c:pt>
                <c:pt idx="46">
                  <c:v>0.01</c:v>
                </c:pt>
                <c:pt idx="47">
                  <c:v>0.01</c:v>
                </c:pt>
                <c:pt idx="48">
                  <c:v>0.01</c:v>
                </c:pt>
                <c:pt idx="49">
                  <c:v>0.01</c:v>
                </c:pt>
                <c:pt idx="50">
                  <c:v>0.01</c:v>
                </c:pt>
                <c:pt idx="51">
                  <c:v>0.01</c:v>
                </c:pt>
                <c:pt idx="52">
                  <c:v>0.01</c:v>
                </c:pt>
                <c:pt idx="53">
                  <c:v>0.01</c:v>
                </c:pt>
                <c:pt idx="5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6</c:f>
              <c:strCache>
                <c:ptCount val="55"/>
                <c:pt idx="0">
                  <c:v>Gillette</c:v>
                </c:pt>
                <c:pt idx="1">
                  <c:v>Harry's</c:v>
                </c:pt>
                <c:pt idx="2">
                  <c:v>Gillette</c:v>
                </c:pt>
                <c:pt idx="3">
                  <c:v>Gillette</c:v>
                </c:pt>
                <c:pt idx="4">
                  <c:v>Harry's</c:v>
                </c:pt>
                <c:pt idx="5">
                  <c:v>Gillette</c:v>
                </c:pt>
                <c:pt idx="6">
                  <c:v>Gillette</c:v>
                </c:pt>
                <c:pt idx="7">
                  <c:v>Harry's</c:v>
                </c:pt>
                <c:pt idx="8">
                  <c:v>Gillette</c:v>
                </c:pt>
                <c:pt idx="9">
                  <c:v>Gillette</c:v>
                </c:pt>
                <c:pt idx="10">
                  <c:v>Schick</c:v>
                </c:pt>
                <c:pt idx="11">
                  <c:v>Gillette</c:v>
                </c:pt>
                <c:pt idx="12">
                  <c:v>Gillette</c:v>
                </c:pt>
                <c:pt idx="13">
                  <c:v>Equate</c:v>
                </c:pt>
                <c:pt idx="14">
                  <c:v>Gillette</c:v>
                </c:pt>
                <c:pt idx="15">
                  <c:v>Gillette</c:v>
                </c:pt>
                <c:pt idx="16">
                  <c:v>Dollar Shav</c:v>
                </c:pt>
                <c:pt idx="17">
                  <c:v>Van Der Hag</c:v>
                </c:pt>
                <c:pt idx="18">
                  <c:v>Dollar Shav</c:v>
                </c:pt>
                <c:pt idx="19">
                  <c:v>Schick</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Van Der Hag</c:v>
                </c:pt>
                <c:pt idx="33">
                  <c:v>Dollar Shav</c:v>
                </c:pt>
                <c:pt idx="34">
                  <c:v>Gillette</c:v>
                </c:pt>
                <c:pt idx="35">
                  <c:v>Gillette</c:v>
                </c:pt>
                <c:pt idx="36">
                  <c:v>Dollar Shav</c:v>
                </c:pt>
                <c:pt idx="37">
                  <c:v>Gillette</c:v>
                </c:pt>
                <c:pt idx="38">
                  <c:v>Equate</c:v>
                </c:pt>
                <c:pt idx="39">
                  <c:v>Gillette</c:v>
                </c:pt>
                <c:pt idx="40">
                  <c:v>Schick</c:v>
                </c:pt>
                <c:pt idx="41">
                  <c:v>Equate</c:v>
                </c:pt>
                <c:pt idx="42">
                  <c:v>Gillette</c:v>
                </c:pt>
                <c:pt idx="43">
                  <c:v>Gillette</c:v>
                </c:pt>
                <c:pt idx="44">
                  <c:v>Schick</c:v>
                </c:pt>
                <c:pt idx="45">
                  <c:v>Gillette</c:v>
                </c:pt>
                <c:pt idx="46">
                  <c:v>Gillette</c:v>
                </c:pt>
                <c:pt idx="47">
                  <c:v>Equate</c:v>
                </c:pt>
                <c:pt idx="48">
                  <c:v>Schick</c:v>
                </c:pt>
                <c:pt idx="49">
                  <c:v>All Others</c:v>
                </c:pt>
                <c:pt idx="50">
                  <c:v>Schick</c:v>
                </c:pt>
                <c:pt idx="51">
                  <c:v>Gillette</c:v>
                </c:pt>
                <c:pt idx="52">
                  <c:v>Gillette</c:v>
                </c:pt>
                <c:pt idx="53">
                  <c:v>Gillette</c:v>
                </c:pt>
                <c:pt idx="54">
                  <c:v>Schick</c:v>
                </c:pt>
              </c:strCache>
            </c:strRef>
          </c:cat>
          <c:val>
            <c:numRef>
              <c:f>Sheet1!$C$2:$C$56</c:f>
              <c:numCache>
                <c:formatCode>General</c:formatCode>
                <c:ptCount val="55"/>
                <c:pt idx="0">
                  <c:v>0.14603919761188924</c:v>
                </c:pt>
                <c:pt idx="1">
                  <c:v>0.25787842539589018</c:v>
                </c:pt>
                <c:pt idx="2">
                  <c:v>0.34751153330949658</c:v>
                </c:pt>
                <c:pt idx="3">
                  <c:v>0.43248198087436562</c:v>
                </c:pt>
                <c:pt idx="4">
                  <c:v>0.4996473188990268</c:v>
                </c:pt>
                <c:pt idx="5">
                  <c:v>0.56326794854585871</c:v>
                </c:pt>
                <c:pt idx="6">
                  <c:v>0.62634342119278041</c:v>
                </c:pt>
                <c:pt idx="7">
                  <c:v>0.66212216062412721</c:v>
                </c:pt>
                <c:pt idx="8">
                  <c:v>0.69754200239080333</c:v>
                </c:pt>
                <c:pt idx="9">
                  <c:v>0.72965732479486334</c:v>
                </c:pt>
                <c:pt idx="10">
                  <c:v>0.7581855711576786</c:v>
                </c:pt>
                <c:pt idx="11">
                  <c:v>0.7865114030388306</c:v>
                </c:pt>
                <c:pt idx="12">
                  <c:v>0.8148257520953186</c:v>
                </c:pt>
                <c:pt idx="13">
                  <c:v>0.8373144286443418</c:v>
                </c:pt>
                <c:pt idx="14">
                  <c:v>0.85843070966628154</c:v>
                </c:pt>
                <c:pt idx="15">
                  <c:v>0.87905655528722715</c:v>
                </c:pt>
                <c:pt idx="16">
                  <c:v>0.89833582193860972</c:v>
                </c:pt>
                <c:pt idx="17">
                  <c:v>0.91230859814112875</c:v>
                </c:pt>
                <c:pt idx="18">
                  <c:v>0.92586466659618594</c:v>
                </c:pt>
                <c:pt idx="19">
                  <c:v>0.93881555059550326</c:v>
                </c:pt>
                <c:pt idx="20">
                  <c:v>0.95167536391645102</c:v>
                </c:pt>
                <c:pt idx="21">
                  <c:v>0.96289946866198572</c:v>
                </c:pt>
                <c:pt idx="22">
                  <c:v>0.97304743475676814</c:v>
                </c:pt>
                <c:pt idx="23">
                  <c:v>0.98294562961713505</c:v>
                </c:pt>
                <c:pt idx="24">
                  <c:v>0.98923188218146763</c:v>
                </c:pt>
                <c:pt idx="25">
                  <c:v>0.99428535452825206</c:v>
                </c:pt>
                <c:pt idx="26">
                  <c:v>0.99823853469654278</c:v>
                </c:pt>
                <c:pt idx="27">
                  <c:v>0.99941049553931871</c:v>
                </c:pt>
                <c:pt idx="28">
                  <c:v>0.9997449229086709</c:v>
                </c:pt>
                <c:pt idx="29">
                  <c:v>0.99984011156554076</c:v>
                </c:pt>
                <c:pt idx="30">
                  <c:v>0.99987543115036936</c:v>
                </c:pt>
                <c:pt idx="31">
                  <c:v>0.99990797901889972</c:v>
                </c:pt>
                <c:pt idx="32">
                  <c:v>0.99992690588162181</c:v>
                </c:pt>
                <c:pt idx="33">
                  <c:v>0.99994028931174739</c:v>
                </c:pt>
                <c:pt idx="34">
                  <c:v>0.99995105940936324</c:v>
                </c:pt>
                <c:pt idx="35">
                  <c:v>0.99996159193129641</c:v>
                </c:pt>
                <c:pt idx="36">
                  <c:v>0.99997030303966217</c:v>
                </c:pt>
                <c:pt idx="37">
                  <c:v>0.99997552970468162</c:v>
                </c:pt>
                <c:pt idx="38">
                  <c:v>0.99997996445075876</c:v>
                </c:pt>
                <c:pt idx="39">
                  <c:v>0.99998273616705702</c:v>
                </c:pt>
                <c:pt idx="40">
                  <c:v>0.99998534949956674</c:v>
                </c:pt>
                <c:pt idx="41">
                  <c:v>0.99998732929692258</c:v>
                </c:pt>
                <c:pt idx="42">
                  <c:v>0.99998907151859573</c:v>
                </c:pt>
                <c:pt idx="43">
                  <c:v>0.99999065535648046</c:v>
                </c:pt>
                <c:pt idx="44">
                  <c:v>0.99999216000247093</c:v>
                </c:pt>
                <c:pt idx="45">
                  <c:v>0.99999334788088445</c:v>
                </c:pt>
                <c:pt idx="46">
                  <c:v>0.99999453575929798</c:v>
                </c:pt>
                <c:pt idx="47">
                  <c:v>0.9999957236377115</c:v>
                </c:pt>
                <c:pt idx="48">
                  <c:v>0.99999675313233649</c:v>
                </c:pt>
                <c:pt idx="49">
                  <c:v>0.99999778262696148</c:v>
                </c:pt>
                <c:pt idx="50">
                  <c:v>0.99999849535400964</c:v>
                </c:pt>
                <c:pt idx="51">
                  <c:v>0.99999904969726927</c:v>
                </c:pt>
                <c:pt idx="52">
                  <c:v>0.9999996040405289</c:v>
                </c:pt>
                <c:pt idx="53">
                  <c:v>0.99999984161621158</c:v>
                </c:pt>
                <c:pt idx="5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1</c:f>
              <c:strCache>
                <c:ptCount val="90"/>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Gillette</c:v>
                </c:pt>
                <c:pt idx="14">
                  <c:v>Equa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Gillette</c:v>
                </c:pt>
                <c:pt idx="31">
                  <c:v>Schick</c:v>
                </c:pt>
                <c:pt idx="32">
                  <c:v>Dollar Shav</c:v>
                </c:pt>
                <c:pt idx="33">
                  <c:v>Gillette</c:v>
                </c:pt>
                <c:pt idx="34">
                  <c:v>Gillette</c:v>
                </c:pt>
                <c:pt idx="35">
                  <c:v>Gillette</c:v>
                </c:pt>
                <c:pt idx="36">
                  <c:v>Dollar Shav</c:v>
                </c:pt>
                <c:pt idx="37">
                  <c:v>Dollar Shav</c:v>
                </c:pt>
                <c:pt idx="38">
                  <c:v>Gillette</c:v>
                </c:pt>
                <c:pt idx="39">
                  <c:v>All Others</c:v>
                </c:pt>
                <c:pt idx="40">
                  <c:v>Schick</c:v>
                </c:pt>
                <c:pt idx="41">
                  <c:v>Equate</c:v>
                </c:pt>
                <c:pt idx="42">
                  <c:v>Gillette</c:v>
                </c:pt>
                <c:pt idx="43">
                  <c:v>Van Der Hag</c:v>
                </c:pt>
                <c:pt idx="44">
                  <c:v>Schick</c:v>
                </c:pt>
                <c:pt idx="45">
                  <c:v>Gillette</c:v>
                </c:pt>
                <c:pt idx="46">
                  <c:v>Gillette</c:v>
                </c:pt>
                <c:pt idx="47">
                  <c:v>Gillette</c:v>
                </c:pt>
                <c:pt idx="48">
                  <c:v>Equate</c:v>
                </c:pt>
                <c:pt idx="49">
                  <c:v>Gillette</c:v>
                </c:pt>
                <c:pt idx="50">
                  <c:v>Schick</c:v>
                </c:pt>
                <c:pt idx="51">
                  <c:v>Gillette</c:v>
                </c:pt>
                <c:pt idx="52">
                  <c:v>Schick</c:v>
                </c:pt>
                <c:pt idx="53">
                  <c:v>Gillette</c:v>
                </c:pt>
                <c:pt idx="54">
                  <c:v>Schick</c:v>
                </c:pt>
                <c:pt idx="55">
                  <c:v>Schick</c:v>
                </c:pt>
                <c:pt idx="56">
                  <c:v>Schick</c:v>
                </c:pt>
                <c:pt idx="57">
                  <c:v>Schick</c:v>
                </c:pt>
                <c:pt idx="58">
                  <c:v>Gillette</c:v>
                </c:pt>
                <c:pt idx="59">
                  <c:v>Gillette</c:v>
                </c:pt>
                <c:pt idx="60">
                  <c:v>Edgewell Pe</c:v>
                </c:pt>
                <c:pt idx="61">
                  <c:v>Gillette</c:v>
                </c:pt>
                <c:pt idx="62">
                  <c:v>Gillette</c:v>
                </c:pt>
                <c:pt idx="63">
                  <c:v>Gillette</c:v>
                </c:pt>
                <c:pt idx="64">
                  <c:v>Gillette</c:v>
                </c:pt>
                <c:pt idx="65">
                  <c:v>Schick</c:v>
                </c:pt>
                <c:pt idx="66">
                  <c:v>Equate</c:v>
                </c:pt>
                <c:pt idx="67">
                  <c:v>Gillette</c:v>
                </c:pt>
                <c:pt idx="68">
                  <c:v>Gillette</c:v>
                </c:pt>
                <c:pt idx="69">
                  <c:v>Equate</c:v>
                </c:pt>
                <c:pt idx="70">
                  <c:v>Gillette</c:v>
                </c:pt>
                <c:pt idx="71">
                  <c:v>Gillette</c:v>
                </c:pt>
                <c:pt idx="72">
                  <c:v>Edgewell Pe</c:v>
                </c:pt>
                <c:pt idx="73">
                  <c:v>Schick</c:v>
                </c:pt>
                <c:pt idx="74">
                  <c:v>Gillette</c:v>
                </c:pt>
                <c:pt idx="75">
                  <c:v>Gillette</c:v>
                </c:pt>
                <c:pt idx="76">
                  <c:v>Schick</c:v>
                </c:pt>
                <c:pt idx="77">
                  <c:v>Gillette</c:v>
                </c:pt>
                <c:pt idx="78">
                  <c:v>Schick</c:v>
                </c:pt>
                <c:pt idx="79">
                  <c:v>Gillette</c:v>
                </c:pt>
                <c:pt idx="80">
                  <c:v>Personna</c:v>
                </c:pt>
                <c:pt idx="81">
                  <c:v>Unilever: A</c:v>
                </c:pt>
                <c:pt idx="82">
                  <c:v>Equate</c:v>
                </c:pt>
                <c:pt idx="83">
                  <c:v>Gillette</c:v>
                </c:pt>
                <c:pt idx="84">
                  <c:v>Gillette</c:v>
                </c:pt>
                <c:pt idx="85">
                  <c:v>All Others</c:v>
                </c:pt>
                <c:pt idx="86">
                  <c:v>Procter &amp; G</c:v>
                </c:pt>
                <c:pt idx="87">
                  <c:v>Schick</c:v>
                </c:pt>
                <c:pt idx="88">
                  <c:v>Gillette</c:v>
                </c:pt>
                <c:pt idx="89">
                  <c:v>Gillette</c:v>
                </c:pt>
              </c:strCache>
            </c:strRef>
          </c:cat>
          <c:val>
            <c:numRef>
              <c:f>Sheet1!$B$2:$B$91</c:f>
              <c:numCache>
                <c:formatCode>General</c:formatCode>
                <c:ptCount val="90"/>
                <c:pt idx="0">
                  <c:v>0.99</c:v>
                </c:pt>
                <c:pt idx="1">
                  <c:v>0.99</c:v>
                </c:pt>
                <c:pt idx="2">
                  <c:v>0.99</c:v>
                </c:pt>
                <c:pt idx="3">
                  <c:v>0.94</c:v>
                </c:pt>
                <c:pt idx="4">
                  <c:v>0.88</c:v>
                </c:pt>
                <c:pt idx="5">
                  <c:v>0.65</c:v>
                </c:pt>
                <c:pt idx="6">
                  <c:v>0.84</c:v>
                </c:pt>
                <c:pt idx="7">
                  <c:v>0.81</c:v>
                </c:pt>
                <c:pt idx="8">
                  <c:v>0.66</c:v>
                </c:pt>
                <c:pt idx="9">
                  <c:v>0.69</c:v>
                </c:pt>
                <c:pt idx="10">
                  <c:v>0.75</c:v>
                </c:pt>
                <c:pt idx="11">
                  <c:v>0.8</c:v>
                </c:pt>
                <c:pt idx="12">
                  <c:v>0.88</c:v>
                </c:pt>
                <c:pt idx="13">
                  <c:v>0.46</c:v>
                </c:pt>
                <c:pt idx="14">
                  <c:v>0.86</c:v>
                </c:pt>
                <c:pt idx="15">
                  <c:v>0.62</c:v>
                </c:pt>
                <c:pt idx="16">
                  <c:v>0.56999999999999995</c:v>
                </c:pt>
                <c:pt idx="17">
                  <c:v>0.49</c:v>
                </c:pt>
                <c:pt idx="18">
                  <c:v>0.59</c:v>
                </c:pt>
                <c:pt idx="19">
                  <c:v>0.93</c:v>
                </c:pt>
                <c:pt idx="20">
                  <c:v>0.56999999999999995</c:v>
                </c:pt>
                <c:pt idx="21">
                  <c:v>0.6</c:v>
                </c:pt>
                <c:pt idx="22">
                  <c:v>0.35</c:v>
                </c:pt>
                <c:pt idx="23">
                  <c:v>0.46</c:v>
                </c:pt>
                <c:pt idx="24">
                  <c:v>0.21</c:v>
                </c:pt>
                <c:pt idx="25">
                  <c:v>0.17</c:v>
                </c:pt>
                <c:pt idx="26">
                  <c:v>0.71</c:v>
                </c:pt>
                <c:pt idx="27">
                  <c:v>0.18</c:v>
                </c:pt>
                <c:pt idx="28">
                  <c:v>0.05</c:v>
                </c:pt>
                <c:pt idx="29">
                  <c:v>7.0000000000000007E-2</c:v>
                </c:pt>
                <c:pt idx="30">
                  <c:v>0.01</c:v>
                </c:pt>
                <c:pt idx="31">
                  <c:v>0.01</c:v>
                </c:pt>
                <c:pt idx="32">
                  <c:v>0.01</c:v>
                </c:pt>
                <c:pt idx="33">
                  <c:v>0.01</c:v>
                </c:pt>
                <c:pt idx="34">
                  <c:v>0.01</c:v>
                </c:pt>
                <c:pt idx="35">
                  <c:v>0.01</c:v>
                </c:pt>
                <c:pt idx="36">
                  <c:v>0.01</c:v>
                </c:pt>
                <c:pt idx="37">
                  <c:v>0.01</c:v>
                </c:pt>
                <c:pt idx="38">
                  <c:v>0.01</c:v>
                </c:pt>
                <c:pt idx="39">
                  <c:v>0.01</c:v>
                </c:pt>
                <c:pt idx="40">
                  <c:v>0.01</c:v>
                </c:pt>
                <c:pt idx="41">
                  <c:v>0.01</c:v>
                </c:pt>
                <c:pt idx="42">
                  <c:v>0.01</c:v>
                </c:pt>
                <c:pt idx="43">
                  <c:v>0.01</c:v>
                </c:pt>
                <c:pt idx="44">
                  <c:v>0.01</c:v>
                </c:pt>
                <c:pt idx="45">
                  <c:v>0.01</c:v>
                </c:pt>
                <c:pt idx="46">
                  <c:v>0.01</c:v>
                </c:pt>
                <c:pt idx="47">
                  <c:v>0.01</c:v>
                </c:pt>
                <c:pt idx="48">
                  <c:v>0.01</c:v>
                </c:pt>
                <c:pt idx="49">
                  <c:v>0.01</c:v>
                </c:pt>
                <c:pt idx="50">
                  <c:v>0.01</c:v>
                </c:pt>
                <c:pt idx="51">
                  <c:v>0.01</c:v>
                </c:pt>
                <c:pt idx="52">
                  <c:v>0.01</c:v>
                </c:pt>
                <c:pt idx="53">
                  <c:v>0.01</c:v>
                </c:pt>
                <c:pt idx="54">
                  <c:v>0.01</c:v>
                </c:pt>
                <c:pt idx="55">
                  <c:v>0.01</c:v>
                </c:pt>
                <c:pt idx="56">
                  <c:v>0.01</c:v>
                </c:pt>
                <c:pt idx="57">
                  <c:v>0.01</c:v>
                </c:pt>
                <c:pt idx="58">
                  <c:v>0.01</c:v>
                </c:pt>
                <c:pt idx="59">
                  <c:v>0.01</c:v>
                </c:pt>
                <c:pt idx="60">
                  <c:v>0.01</c:v>
                </c:pt>
                <c:pt idx="61">
                  <c:v>0.01</c:v>
                </c:pt>
                <c:pt idx="62">
                  <c:v>0.01</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1</c:f>
              <c:strCache>
                <c:ptCount val="90"/>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Gillette</c:v>
                </c:pt>
                <c:pt idx="14">
                  <c:v>Equa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Gillette</c:v>
                </c:pt>
                <c:pt idx="31">
                  <c:v>Schick</c:v>
                </c:pt>
                <c:pt idx="32">
                  <c:v>Dollar Shav</c:v>
                </c:pt>
                <c:pt idx="33">
                  <c:v>Gillette</c:v>
                </c:pt>
                <c:pt idx="34">
                  <c:v>Gillette</c:v>
                </c:pt>
                <c:pt idx="35">
                  <c:v>Gillette</c:v>
                </c:pt>
                <c:pt idx="36">
                  <c:v>Dollar Shav</c:v>
                </c:pt>
                <c:pt idx="37">
                  <c:v>Dollar Shav</c:v>
                </c:pt>
                <c:pt idx="38">
                  <c:v>Gillette</c:v>
                </c:pt>
                <c:pt idx="39">
                  <c:v>All Others</c:v>
                </c:pt>
                <c:pt idx="40">
                  <c:v>Schick</c:v>
                </c:pt>
                <c:pt idx="41">
                  <c:v>Equate</c:v>
                </c:pt>
                <c:pt idx="42">
                  <c:v>Gillette</c:v>
                </c:pt>
                <c:pt idx="43">
                  <c:v>Van Der Hag</c:v>
                </c:pt>
                <c:pt idx="44">
                  <c:v>Schick</c:v>
                </c:pt>
                <c:pt idx="45">
                  <c:v>Gillette</c:v>
                </c:pt>
                <c:pt idx="46">
                  <c:v>Gillette</c:v>
                </c:pt>
                <c:pt idx="47">
                  <c:v>Gillette</c:v>
                </c:pt>
                <c:pt idx="48">
                  <c:v>Equate</c:v>
                </c:pt>
                <c:pt idx="49">
                  <c:v>Gillette</c:v>
                </c:pt>
                <c:pt idx="50">
                  <c:v>Schick</c:v>
                </c:pt>
                <c:pt idx="51">
                  <c:v>Gillette</c:v>
                </c:pt>
                <c:pt idx="52">
                  <c:v>Schick</c:v>
                </c:pt>
                <c:pt idx="53">
                  <c:v>Gillette</c:v>
                </c:pt>
                <c:pt idx="54">
                  <c:v>Schick</c:v>
                </c:pt>
                <c:pt idx="55">
                  <c:v>Schick</c:v>
                </c:pt>
                <c:pt idx="56">
                  <c:v>Schick</c:v>
                </c:pt>
                <c:pt idx="57">
                  <c:v>Schick</c:v>
                </c:pt>
                <c:pt idx="58">
                  <c:v>Gillette</c:v>
                </c:pt>
                <c:pt idx="59">
                  <c:v>Gillette</c:v>
                </c:pt>
                <c:pt idx="60">
                  <c:v>Edgewell Pe</c:v>
                </c:pt>
                <c:pt idx="61">
                  <c:v>Gillette</c:v>
                </c:pt>
                <c:pt idx="62">
                  <c:v>Gillette</c:v>
                </c:pt>
                <c:pt idx="63">
                  <c:v>Gillette</c:v>
                </c:pt>
                <c:pt idx="64">
                  <c:v>Gillette</c:v>
                </c:pt>
                <c:pt idx="65">
                  <c:v>Schick</c:v>
                </c:pt>
                <c:pt idx="66">
                  <c:v>Equate</c:v>
                </c:pt>
                <c:pt idx="67">
                  <c:v>Gillette</c:v>
                </c:pt>
                <c:pt idx="68">
                  <c:v>Gillette</c:v>
                </c:pt>
                <c:pt idx="69">
                  <c:v>Equate</c:v>
                </c:pt>
                <c:pt idx="70">
                  <c:v>Gillette</c:v>
                </c:pt>
                <c:pt idx="71">
                  <c:v>Gillette</c:v>
                </c:pt>
                <c:pt idx="72">
                  <c:v>Edgewell Pe</c:v>
                </c:pt>
                <c:pt idx="73">
                  <c:v>Schick</c:v>
                </c:pt>
                <c:pt idx="74">
                  <c:v>Gillette</c:v>
                </c:pt>
                <c:pt idx="75">
                  <c:v>Gillette</c:v>
                </c:pt>
                <c:pt idx="76">
                  <c:v>Schick</c:v>
                </c:pt>
                <c:pt idx="77">
                  <c:v>Gillette</c:v>
                </c:pt>
                <c:pt idx="78">
                  <c:v>Schick</c:v>
                </c:pt>
                <c:pt idx="79">
                  <c:v>Gillette</c:v>
                </c:pt>
                <c:pt idx="80">
                  <c:v>Personna</c:v>
                </c:pt>
                <c:pt idx="81">
                  <c:v>Unilever: A</c:v>
                </c:pt>
                <c:pt idx="82">
                  <c:v>Equate</c:v>
                </c:pt>
                <c:pt idx="83">
                  <c:v>Gillette</c:v>
                </c:pt>
                <c:pt idx="84">
                  <c:v>Gillette</c:v>
                </c:pt>
                <c:pt idx="85">
                  <c:v>All Others</c:v>
                </c:pt>
                <c:pt idx="86">
                  <c:v>Procter &amp; G</c:v>
                </c:pt>
                <c:pt idx="87">
                  <c:v>Schick</c:v>
                </c:pt>
                <c:pt idx="88">
                  <c:v>Gillette</c:v>
                </c:pt>
                <c:pt idx="89">
                  <c:v>Gillette</c:v>
                </c:pt>
              </c:strCache>
            </c:strRef>
          </c:cat>
          <c:val>
            <c:numRef>
              <c:f>Sheet1!$C$2:$C$91</c:f>
              <c:numCache>
                <c:formatCode>General</c:formatCode>
                <c:ptCount val="90"/>
                <c:pt idx="0">
                  <c:v>0.13989729773451523</c:v>
                </c:pt>
                <c:pt idx="1">
                  <c:v>0.27546043823635602</c:v>
                </c:pt>
                <c:pt idx="2">
                  <c:v>0.36671832876351557</c:v>
                </c:pt>
                <c:pt idx="3">
                  <c:v>0.43589434976170849</c:v>
                </c:pt>
                <c:pt idx="4">
                  <c:v>0.50194054478903216</c:v>
                </c:pt>
                <c:pt idx="5">
                  <c:v>0.56236535774955621</c:v>
                </c:pt>
                <c:pt idx="6">
                  <c:v>0.61061650478951091</c:v>
                </c:pt>
                <c:pt idx="7">
                  <c:v>0.65156391535650759</c:v>
                </c:pt>
                <c:pt idx="8">
                  <c:v>0.68399419742631129</c:v>
                </c:pt>
                <c:pt idx="9">
                  <c:v>0.71566500568046032</c:v>
                </c:pt>
                <c:pt idx="10">
                  <c:v>0.74576371258680385</c:v>
                </c:pt>
                <c:pt idx="11">
                  <c:v>0.77295374346108603</c:v>
                </c:pt>
                <c:pt idx="12">
                  <c:v>0.79704381816606817</c:v>
                </c:pt>
                <c:pt idx="13">
                  <c:v>0.82073002149432606</c:v>
                </c:pt>
                <c:pt idx="14">
                  <c:v>0.84422057968962438</c:v>
                </c:pt>
                <c:pt idx="15">
                  <c:v>0.86721827729909406</c:v>
                </c:pt>
                <c:pt idx="16">
                  <c:v>0.88867511369927887</c:v>
                </c:pt>
                <c:pt idx="17">
                  <c:v>0.90781271387519236</c:v>
                </c:pt>
                <c:pt idx="18">
                  <c:v>0.9243333366843588</c:v>
                </c:pt>
                <c:pt idx="19">
                  <c:v>0.93857834369333693</c:v>
                </c:pt>
                <c:pt idx="20">
                  <c:v>0.95172947332410562</c:v>
                </c:pt>
                <c:pt idx="21">
                  <c:v>0.9633909699024038</c:v>
                </c:pt>
                <c:pt idx="22">
                  <c:v>0.97395168425811163</c:v>
                </c:pt>
                <c:pt idx="23">
                  <c:v>0.98232938097048306</c:v>
                </c:pt>
                <c:pt idx="24">
                  <c:v>0.9889886160793474</c:v>
                </c:pt>
                <c:pt idx="25">
                  <c:v>0.99382044779705547</c:v>
                </c:pt>
                <c:pt idx="26">
                  <c:v>0.99741217182659792</c:v>
                </c:pt>
                <c:pt idx="27">
                  <c:v>0.99899401910530894</c:v>
                </c:pt>
                <c:pt idx="28">
                  <c:v>0.99956640648732664</c:v>
                </c:pt>
                <c:pt idx="29">
                  <c:v>0.99981408307807196</c:v>
                </c:pt>
                <c:pt idx="30">
                  <c:v>0.999842600262564</c:v>
                </c:pt>
                <c:pt idx="31">
                  <c:v>0.99986834724002893</c:v>
                </c:pt>
                <c:pt idx="32">
                  <c:v>0.99988995367351519</c:v>
                </c:pt>
                <c:pt idx="33">
                  <c:v>0.99990963454731951</c:v>
                </c:pt>
                <c:pt idx="34">
                  <c:v>0.99992410577805801</c:v>
                </c:pt>
                <c:pt idx="35">
                  <c:v>0.99993595446738914</c:v>
                </c:pt>
                <c:pt idx="36">
                  <c:v>0.99994695260275035</c:v>
                </c:pt>
                <c:pt idx="37">
                  <c:v>0.99995539907620179</c:v>
                </c:pt>
                <c:pt idx="38">
                  <c:v>0.9999602247886562</c:v>
                </c:pt>
                <c:pt idx="39">
                  <c:v>0.99996491464874038</c:v>
                </c:pt>
                <c:pt idx="40">
                  <c:v>0.9999695749757006</c:v>
                </c:pt>
                <c:pt idx="41">
                  <c:v>0.99997353241431075</c:v>
                </c:pt>
                <c:pt idx="42">
                  <c:v>0.99997722405480527</c:v>
                </c:pt>
                <c:pt idx="43">
                  <c:v>0.99997997063533317</c:v>
                </c:pt>
                <c:pt idx="44">
                  <c:v>0.999981813502268</c:v>
                </c:pt>
                <c:pt idx="45">
                  <c:v>0.99998359730295494</c:v>
                </c:pt>
                <c:pt idx="46">
                  <c:v>0.9999852039048982</c:v>
                </c:pt>
                <c:pt idx="47">
                  <c:v>0.99998679869359186</c:v>
                </c:pt>
                <c:pt idx="48">
                  <c:v>0.99998832850941277</c:v>
                </c:pt>
                <c:pt idx="49">
                  <c:v>0.99998975791261224</c:v>
                </c:pt>
                <c:pt idx="50">
                  <c:v>0.99999097467731923</c:v>
                </c:pt>
                <c:pt idx="51">
                  <c:v>0.99999199652340809</c:v>
                </c:pt>
                <c:pt idx="52">
                  <c:v>0.99999283526412841</c:v>
                </c:pt>
                <c:pt idx="53">
                  <c:v>0.99999346727298111</c:v>
                </c:pt>
                <c:pt idx="54">
                  <c:v>0.99999404612221066</c:v>
                </c:pt>
                <c:pt idx="55">
                  <c:v>0.99999460725156586</c:v>
                </c:pt>
                <c:pt idx="56">
                  <c:v>0.99999513294117226</c:v>
                </c:pt>
                <c:pt idx="57">
                  <c:v>0.99999555821815722</c:v>
                </c:pt>
                <c:pt idx="58">
                  <c:v>0.99999590670901994</c:v>
                </c:pt>
                <c:pt idx="59">
                  <c:v>0.99999625519988267</c:v>
                </c:pt>
                <c:pt idx="60">
                  <c:v>0.99999659778412053</c:v>
                </c:pt>
                <c:pt idx="61">
                  <c:v>0.99999693446173366</c:v>
                </c:pt>
                <c:pt idx="62">
                  <c:v>0.99999726523272192</c:v>
                </c:pt>
                <c:pt idx="63">
                  <c:v>0.99999756647058624</c:v>
                </c:pt>
                <c:pt idx="64">
                  <c:v>0.99999783817532661</c:v>
                </c:pt>
                <c:pt idx="65">
                  <c:v>0.9999980626270687</c:v>
                </c:pt>
                <c:pt idx="66">
                  <c:v>0.99999828117218592</c:v>
                </c:pt>
                <c:pt idx="67">
                  <c:v>0.9999984938106784</c:v>
                </c:pt>
                <c:pt idx="68">
                  <c:v>0.99999869463592128</c:v>
                </c:pt>
                <c:pt idx="69">
                  <c:v>0.99999885411479061</c:v>
                </c:pt>
                <c:pt idx="70">
                  <c:v>0.9999989958737856</c:v>
                </c:pt>
                <c:pt idx="71">
                  <c:v>0.99999913172615584</c:v>
                </c:pt>
                <c:pt idx="72">
                  <c:v>0.99999925576527648</c:v>
                </c:pt>
                <c:pt idx="73">
                  <c:v>0.99999937980439713</c:v>
                </c:pt>
                <c:pt idx="74">
                  <c:v>0.99999949203026817</c:v>
                </c:pt>
                <c:pt idx="75">
                  <c:v>0.99999959244288961</c:v>
                </c:pt>
                <c:pt idx="76">
                  <c:v>0.99999969285551105</c:v>
                </c:pt>
                <c:pt idx="77">
                  <c:v>0.99999976373500854</c:v>
                </c:pt>
                <c:pt idx="78">
                  <c:v>0.99999982280125643</c:v>
                </c:pt>
                <c:pt idx="79">
                  <c:v>0.99999985824100524</c:v>
                </c:pt>
                <c:pt idx="80">
                  <c:v>0.99999988777412918</c:v>
                </c:pt>
                <c:pt idx="81">
                  <c:v>0.99999991140062838</c:v>
                </c:pt>
                <c:pt idx="82">
                  <c:v>0.99999992912050273</c:v>
                </c:pt>
                <c:pt idx="83">
                  <c:v>0.99999994093375233</c:v>
                </c:pt>
                <c:pt idx="84">
                  <c:v>0.99999995274700193</c:v>
                </c:pt>
                <c:pt idx="85">
                  <c:v>0.99999996456025153</c:v>
                </c:pt>
                <c:pt idx="86">
                  <c:v>0.99999997637350113</c:v>
                </c:pt>
                <c:pt idx="87">
                  <c:v>0.99999998818675073</c:v>
                </c:pt>
                <c:pt idx="88">
                  <c:v>0.99999999409337548</c:v>
                </c:pt>
                <c:pt idx="89">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5</c:f>
              <c:strCache>
                <c:ptCount val="104"/>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Gillette</c:v>
                </c:pt>
                <c:pt idx="19">
                  <c:v>Gillette</c:v>
                </c:pt>
                <c:pt idx="20">
                  <c:v>Schick</c:v>
                </c:pt>
                <c:pt idx="21">
                  <c:v>Harry's</c:v>
                </c:pt>
                <c:pt idx="22">
                  <c:v>Gillette</c:v>
                </c:pt>
                <c:pt idx="23">
                  <c:v>Gillette</c:v>
                </c:pt>
                <c:pt idx="24">
                  <c:v>Gillette</c:v>
                </c:pt>
                <c:pt idx="25">
                  <c:v>Harry's</c:v>
                </c:pt>
                <c:pt idx="26">
                  <c:v>Gillette</c:v>
                </c:pt>
                <c:pt idx="27">
                  <c:v>Gillette</c:v>
                </c:pt>
                <c:pt idx="28">
                  <c:v>Gillette</c:v>
                </c:pt>
                <c:pt idx="29">
                  <c:v>Gillette</c:v>
                </c:pt>
                <c:pt idx="30">
                  <c:v>Dollar Shav</c:v>
                </c:pt>
                <c:pt idx="31">
                  <c:v>Gillette</c:v>
                </c:pt>
                <c:pt idx="32">
                  <c:v>Gillette</c:v>
                </c:pt>
                <c:pt idx="33">
                  <c:v>Gillette</c:v>
                </c:pt>
                <c:pt idx="34">
                  <c:v>Gillette</c:v>
                </c:pt>
                <c:pt idx="35">
                  <c:v>Schick</c:v>
                </c:pt>
                <c:pt idx="36">
                  <c:v>Cremo</c:v>
                </c:pt>
                <c:pt idx="37">
                  <c:v>Harry's</c:v>
                </c:pt>
                <c:pt idx="38">
                  <c:v>Harry's</c:v>
                </c:pt>
                <c:pt idx="39">
                  <c:v>Gillette</c:v>
                </c:pt>
                <c:pt idx="40">
                  <c:v>Schick</c:v>
                </c:pt>
                <c:pt idx="41">
                  <c:v>All Others</c:v>
                </c:pt>
                <c:pt idx="42">
                  <c:v>Schick</c:v>
                </c:pt>
                <c:pt idx="43">
                  <c:v>Harry's</c:v>
                </c:pt>
                <c:pt idx="44">
                  <c:v>Dollar Shav</c:v>
                </c:pt>
                <c:pt idx="45">
                  <c:v>Gillette</c:v>
                </c:pt>
                <c:pt idx="46">
                  <c:v>Gillette</c:v>
                </c:pt>
                <c:pt idx="47">
                  <c:v>Harry's</c:v>
                </c:pt>
                <c:pt idx="48">
                  <c:v>Gillette</c:v>
                </c:pt>
                <c:pt idx="49">
                  <c:v>Dollar Shav</c:v>
                </c:pt>
                <c:pt idx="50">
                  <c:v>Gillette</c:v>
                </c:pt>
                <c:pt idx="51">
                  <c:v>Cremo</c:v>
                </c:pt>
                <c:pt idx="52">
                  <c:v>Cremo</c:v>
                </c:pt>
                <c:pt idx="53">
                  <c:v>Gillette</c:v>
                </c:pt>
                <c:pt idx="54">
                  <c:v>Gillette</c:v>
                </c:pt>
                <c:pt idx="55">
                  <c:v>Harry's</c:v>
                </c:pt>
                <c:pt idx="56">
                  <c:v>Schick</c:v>
                </c:pt>
                <c:pt idx="57">
                  <c:v>Dollar Shav</c:v>
                </c:pt>
                <c:pt idx="58">
                  <c:v>Unilever: A</c:v>
                </c:pt>
                <c:pt idx="59">
                  <c:v>Schick</c:v>
                </c:pt>
                <c:pt idx="60">
                  <c:v>Gillette</c:v>
                </c:pt>
                <c:pt idx="61">
                  <c:v>Van Der Hag</c:v>
                </c:pt>
                <c:pt idx="62">
                  <c:v>Equate</c:v>
                </c:pt>
                <c:pt idx="63">
                  <c:v>Gillette</c:v>
                </c:pt>
                <c:pt idx="64">
                  <c:v>Schick</c:v>
                </c:pt>
                <c:pt idx="65">
                  <c:v>Dollar Shav</c:v>
                </c:pt>
                <c:pt idx="66">
                  <c:v>Schick</c:v>
                </c:pt>
                <c:pt idx="67">
                  <c:v>Van Der Hag</c:v>
                </c:pt>
                <c:pt idx="68">
                  <c:v>Schick</c:v>
                </c:pt>
                <c:pt idx="69">
                  <c:v>Gillette</c:v>
                </c:pt>
                <c:pt idx="70">
                  <c:v>Gillette</c:v>
                </c:pt>
                <c:pt idx="71">
                  <c:v>Gillette</c:v>
                </c:pt>
                <c:pt idx="72">
                  <c:v>Dollar Shav</c:v>
                </c:pt>
                <c:pt idx="73">
                  <c:v>Gillette</c:v>
                </c:pt>
                <c:pt idx="74">
                  <c:v>Gillette</c:v>
                </c:pt>
                <c:pt idx="75">
                  <c:v>Gillette</c:v>
                </c:pt>
                <c:pt idx="76">
                  <c:v>Schick</c:v>
                </c:pt>
                <c:pt idx="77">
                  <c:v>Equate</c:v>
                </c:pt>
                <c:pt idx="78">
                  <c:v>Schick</c:v>
                </c:pt>
                <c:pt idx="79">
                  <c:v>All Others</c:v>
                </c:pt>
                <c:pt idx="80">
                  <c:v>Gillette</c:v>
                </c:pt>
                <c:pt idx="81">
                  <c:v>Schick</c:v>
                </c:pt>
                <c:pt idx="82">
                  <c:v>Schick</c:v>
                </c:pt>
                <c:pt idx="83">
                  <c:v>Harry's</c:v>
                </c:pt>
                <c:pt idx="84">
                  <c:v>Equate</c:v>
                </c:pt>
                <c:pt idx="85">
                  <c:v>Schick</c:v>
                </c:pt>
                <c:pt idx="86">
                  <c:v>Gillette</c:v>
                </c:pt>
                <c:pt idx="87">
                  <c:v>Gillette</c:v>
                </c:pt>
                <c:pt idx="88">
                  <c:v>Equate</c:v>
                </c:pt>
                <c:pt idx="89">
                  <c:v>Gillette</c:v>
                </c:pt>
                <c:pt idx="90">
                  <c:v>Schick</c:v>
                </c:pt>
                <c:pt idx="91">
                  <c:v>Edgewell Pe</c:v>
                </c:pt>
                <c:pt idx="92">
                  <c:v>Gillette</c:v>
                </c:pt>
                <c:pt idx="93">
                  <c:v>Dollar Shav</c:v>
                </c:pt>
                <c:pt idx="94">
                  <c:v>Equate</c:v>
                </c:pt>
                <c:pt idx="95">
                  <c:v>Gillette</c:v>
                </c:pt>
                <c:pt idx="96">
                  <c:v>Dollar Shav</c:v>
                </c:pt>
                <c:pt idx="97">
                  <c:v>Dollar Shav</c:v>
                </c:pt>
                <c:pt idx="98">
                  <c:v>Gillette</c:v>
                </c:pt>
                <c:pt idx="99">
                  <c:v>Schick</c:v>
                </c:pt>
                <c:pt idx="100">
                  <c:v>Schick</c:v>
                </c:pt>
                <c:pt idx="101">
                  <c:v>Gillette</c:v>
                </c:pt>
                <c:pt idx="102">
                  <c:v>Gillette</c:v>
                </c:pt>
                <c:pt idx="103">
                  <c:v>Schick</c:v>
                </c:pt>
              </c:strCache>
            </c:strRef>
          </c:cat>
          <c:val>
            <c:numRef>
              <c:f>Sheet1!$B$2:$B$105</c:f>
              <c:numCache>
                <c:formatCode>General</c:formatCode>
                <c:ptCount val="104"/>
                <c:pt idx="0">
                  <c:v>0.92900000000000005</c:v>
                </c:pt>
                <c:pt idx="1">
                  <c:v>0.94899999999999995</c:v>
                </c:pt>
                <c:pt idx="2">
                  <c:v>0.83799999999999997</c:v>
                </c:pt>
                <c:pt idx="3">
                  <c:v>0.84899999999999998</c:v>
                </c:pt>
                <c:pt idx="4">
                  <c:v>0.89700000000000002</c:v>
                </c:pt>
                <c:pt idx="5">
                  <c:v>0.92100000000000004</c:v>
                </c:pt>
                <c:pt idx="6">
                  <c:v>0.63200000000000001</c:v>
                </c:pt>
                <c:pt idx="7">
                  <c:v>0.73799999999999999</c:v>
                </c:pt>
                <c:pt idx="8">
                  <c:v>0.89100000000000001</c:v>
                </c:pt>
                <c:pt idx="9">
                  <c:v>0.85199999999999998</c:v>
                </c:pt>
                <c:pt idx="10">
                  <c:v>0.83399999999999996</c:v>
                </c:pt>
                <c:pt idx="11">
                  <c:v>0.66600000000000004</c:v>
                </c:pt>
                <c:pt idx="12">
                  <c:v>0.60699999999999998</c:v>
                </c:pt>
                <c:pt idx="13">
                  <c:v>0.61299999999999999</c:v>
                </c:pt>
                <c:pt idx="14">
                  <c:v>0.751</c:v>
                </c:pt>
                <c:pt idx="15">
                  <c:v>0.65100000000000002</c:v>
                </c:pt>
                <c:pt idx="16">
                  <c:v>0.52700000000000002</c:v>
                </c:pt>
                <c:pt idx="17">
                  <c:v>0.77700000000000002</c:v>
                </c:pt>
                <c:pt idx="18">
                  <c:v>0.38600000000000001</c:v>
                </c:pt>
                <c:pt idx="19">
                  <c:v>0.46600000000000003</c:v>
                </c:pt>
                <c:pt idx="20">
                  <c:v>0.79400000000000004</c:v>
                </c:pt>
                <c:pt idx="21">
                  <c:v>0.23699999999999999</c:v>
                </c:pt>
                <c:pt idx="22">
                  <c:v>0.57299999999999995</c:v>
                </c:pt>
                <c:pt idx="23">
                  <c:v>0.433</c:v>
                </c:pt>
                <c:pt idx="24">
                  <c:v>0.28699999999999998</c:v>
                </c:pt>
                <c:pt idx="25">
                  <c:v>0.7</c:v>
                </c:pt>
                <c:pt idx="26">
                  <c:v>0.73399999999999999</c:v>
                </c:pt>
                <c:pt idx="27">
                  <c:v>0.61199999999999999</c:v>
                </c:pt>
                <c:pt idx="28">
                  <c:v>0.35</c:v>
                </c:pt>
                <c:pt idx="29">
                  <c:v>0.42899999999999999</c:v>
                </c:pt>
                <c:pt idx="30">
                  <c:v>0.63</c:v>
                </c:pt>
                <c:pt idx="31">
                  <c:v>0.30099999999999999</c:v>
                </c:pt>
                <c:pt idx="32">
                  <c:v>0.32300000000000001</c:v>
                </c:pt>
                <c:pt idx="33">
                  <c:v>0.38600000000000001</c:v>
                </c:pt>
                <c:pt idx="34">
                  <c:v>0.17499999999999999</c:v>
                </c:pt>
                <c:pt idx="35">
                  <c:v>5.6000000000000001E-2</c:v>
                </c:pt>
                <c:pt idx="36">
                  <c:v>0.11700000000000001</c:v>
                </c:pt>
                <c:pt idx="37">
                  <c:v>0.01</c:v>
                </c:pt>
                <c:pt idx="38">
                  <c:v>8.9999999999999993E-3</c:v>
                </c:pt>
                <c:pt idx="39">
                  <c:v>0.01</c:v>
                </c:pt>
                <c:pt idx="40">
                  <c:v>0.01</c:v>
                </c:pt>
                <c:pt idx="41">
                  <c:v>8.9999999999999993E-3</c:v>
                </c:pt>
                <c:pt idx="42">
                  <c:v>8.9999999999999993E-3</c:v>
                </c:pt>
                <c:pt idx="43">
                  <c:v>8.9999999999999993E-3</c:v>
                </c:pt>
                <c:pt idx="44">
                  <c:v>0.01</c:v>
                </c:pt>
                <c:pt idx="45">
                  <c:v>8.9999999999999993E-3</c:v>
                </c:pt>
                <c:pt idx="46">
                  <c:v>8.9999999999999993E-3</c:v>
                </c:pt>
                <c:pt idx="47">
                  <c:v>8.9999999999999993E-3</c:v>
                </c:pt>
                <c:pt idx="48">
                  <c:v>8.9999999999999993E-3</c:v>
                </c:pt>
                <c:pt idx="49">
                  <c:v>8.9999999999999993E-3</c:v>
                </c:pt>
                <c:pt idx="50">
                  <c:v>0.01</c:v>
                </c:pt>
                <c:pt idx="51">
                  <c:v>8.9999999999999993E-3</c:v>
                </c:pt>
                <c:pt idx="52">
                  <c:v>8.9999999999999993E-3</c:v>
                </c:pt>
                <c:pt idx="53">
                  <c:v>8.9999999999999993E-3</c:v>
                </c:pt>
                <c:pt idx="54">
                  <c:v>8.9999999999999993E-3</c:v>
                </c:pt>
                <c:pt idx="55">
                  <c:v>8.9999999999999993E-3</c:v>
                </c:pt>
                <c:pt idx="56">
                  <c:v>8.9999999999999993E-3</c:v>
                </c:pt>
                <c:pt idx="57">
                  <c:v>8.9999999999999993E-3</c:v>
                </c:pt>
                <c:pt idx="58">
                  <c:v>8.9999999999999993E-3</c:v>
                </c:pt>
                <c:pt idx="59">
                  <c:v>8.9999999999999993E-3</c:v>
                </c:pt>
                <c:pt idx="60">
                  <c:v>8.9999999999999993E-3</c:v>
                </c:pt>
                <c:pt idx="61">
                  <c:v>8.9999999999999993E-3</c:v>
                </c:pt>
                <c:pt idx="62">
                  <c:v>0.01</c:v>
                </c:pt>
                <c:pt idx="63">
                  <c:v>8.9999999999999993E-3</c:v>
                </c:pt>
                <c:pt idx="64">
                  <c:v>8.9999999999999993E-3</c:v>
                </c:pt>
                <c:pt idx="65">
                  <c:v>8.9999999999999993E-3</c:v>
                </c:pt>
                <c:pt idx="66">
                  <c:v>8.9999999999999993E-3</c:v>
                </c:pt>
                <c:pt idx="67">
                  <c:v>8.9999999999999993E-3</c:v>
                </c:pt>
                <c:pt idx="68">
                  <c:v>8.9999999999999993E-3</c:v>
                </c:pt>
                <c:pt idx="69">
                  <c:v>8.9999999999999993E-3</c:v>
                </c:pt>
                <c:pt idx="70">
                  <c:v>8.9999999999999993E-3</c:v>
                </c:pt>
                <c:pt idx="71">
                  <c:v>8.9999999999999993E-3</c:v>
                </c:pt>
                <c:pt idx="72">
                  <c:v>8.9999999999999993E-3</c:v>
                </c:pt>
                <c:pt idx="73">
                  <c:v>8.9999999999999993E-3</c:v>
                </c:pt>
                <c:pt idx="74">
                  <c:v>8.9999999999999993E-3</c:v>
                </c:pt>
                <c:pt idx="75">
                  <c:v>8.9999999999999993E-3</c:v>
                </c:pt>
                <c:pt idx="76">
                  <c:v>8.9999999999999993E-3</c:v>
                </c:pt>
                <c:pt idx="77">
                  <c:v>8.9999999999999993E-3</c:v>
                </c:pt>
                <c:pt idx="78">
                  <c:v>8.9999999999999993E-3</c:v>
                </c:pt>
                <c:pt idx="79">
                  <c:v>8.9999999999999993E-3</c:v>
                </c:pt>
                <c:pt idx="80">
                  <c:v>8.9999999999999993E-3</c:v>
                </c:pt>
                <c:pt idx="81">
                  <c:v>8.9999999999999993E-3</c:v>
                </c:pt>
                <c:pt idx="82">
                  <c:v>8.9999999999999993E-3</c:v>
                </c:pt>
                <c:pt idx="83">
                  <c:v>8.9999999999999993E-3</c:v>
                </c:pt>
                <c:pt idx="84">
                  <c:v>8.9999999999999993E-3</c:v>
                </c:pt>
                <c:pt idx="85">
                  <c:v>8.9999999999999993E-3</c:v>
                </c:pt>
                <c:pt idx="86">
                  <c:v>8.9999999999999993E-3</c:v>
                </c:pt>
                <c:pt idx="87">
                  <c:v>8.9999999999999993E-3</c:v>
                </c:pt>
                <c:pt idx="88">
                  <c:v>8.9999999999999993E-3</c:v>
                </c:pt>
                <c:pt idx="89">
                  <c:v>8.9999999999999993E-3</c:v>
                </c:pt>
                <c:pt idx="90">
                  <c:v>8.9999999999999993E-3</c:v>
                </c:pt>
                <c:pt idx="91">
                  <c:v>8.9999999999999993E-3</c:v>
                </c:pt>
                <c:pt idx="92">
                  <c:v>8.9999999999999993E-3</c:v>
                </c:pt>
                <c:pt idx="93">
                  <c:v>8.9999999999999993E-3</c:v>
                </c:pt>
                <c:pt idx="94">
                  <c:v>8.9999999999999993E-3</c:v>
                </c:pt>
                <c:pt idx="95">
                  <c:v>8.9999999999999993E-3</c:v>
                </c:pt>
                <c:pt idx="96">
                  <c:v>1E-3</c:v>
                </c:pt>
                <c:pt idx="97">
                  <c:v>8.9999999999999993E-3</c:v>
                </c:pt>
                <c:pt idx="98">
                  <c:v>8.9999999999999993E-3</c:v>
                </c:pt>
                <c:pt idx="99">
                  <c:v>8.9999999999999993E-3</c:v>
                </c:pt>
                <c:pt idx="100">
                  <c:v>8.9999999999999993E-3</c:v>
                </c:pt>
                <c:pt idx="101">
                  <c:v>1E-3</c:v>
                </c:pt>
                <c:pt idx="102">
                  <c:v>8.9999999999999993E-3</c:v>
                </c:pt>
                <c:pt idx="103">
                  <c:v>8.9999999999999993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5</c:f>
              <c:strCache>
                <c:ptCount val="104"/>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Gillette</c:v>
                </c:pt>
                <c:pt idx="19">
                  <c:v>Gillette</c:v>
                </c:pt>
                <c:pt idx="20">
                  <c:v>Schick</c:v>
                </c:pt>
                <c:pt idx="21">
                  <c:v>Harry's</c:v>
                </c:pt>
                <c:pt idx="22">
                  <c:v>Gillette</c:v>
                </c:pt>
                <c:pt idx="23">
                  <c:v>Gillette</c:v>
                </c:pt>
                <c:pt idx="24">
                  <c:v>Gillette</c:v>
                </c:pt>
                <c:pt idx="25">
                  <c:v>Harry's</c:v>
                </c:pt>
                <c:pt idx="26">
                  <c:v>Gillette</c:v>
                </c:pt>
                <c:pt idx="27">
                  <c:v>Gillette</c:v>
                </c:pt>
                <c:pt idx="28">
                  <c:v>Gillette</c:v>
                </c:pt>
                <c:pt idx="29">
                  <c:v>Gillette</c:v>
                </c:pt>
                <c:pt idx="30">
                  <c:v>Dollar Shav</c:v>
                </c:pt>
                <c:pt idx="31">
                  <c:v>Gillette</c:v>
                </c:pt>
                <c:pt idx="32">
                  <c:v>Gillette</c:v>
                </c:pt>
                <c:pt idx="33">
                  <c:v>Gillette</c:v>
                </c:pt>
                <c:pt idx="34">
                  <c:v>Gillette</c:v>
                </c:pt>
                <c:pt idx="35">
                  <c:v>Schick</c:v>
                </c:pt>
                <c:pt idx="36">
                  <c:v>Cremo</c:v>
                </c:pt>
                <c:pt idx="37">
                  <c:v>Harry's</c:v>
                </c:pt>
                <c:pt idx="38">
                  <c:v>Harry's</c:v>
                </c:pt>
                <c:pt idx="39">
                  <c:v>Gillette</c:v>
                </c:pt>
                <c:pt idx="40">
                  <c:v>Schick</c:v>
                </c:pt>
                <c:pt idx="41">
                  <c:v>All Others</c:v>
                </c:pt>
                <c:pt idx="42">
                  <c:v>Schick</c:v>
                </c:pt>
                <c:pt idx="43">
                  <c:v>Harry's</c:v>
                </c:pt>
                <c:pt idx="44">
                  <c:v>Dollar Shav</c:v>
                </c:pt>
                <c:pt idx="45">
                  <c:v>Gillette</c:v>
                </c:pt>
                <c:pt idx="46">
                  <c:v>Gillette</c:v>
                </c:pt>
                <c:pt idx="47">
                  <c:v>Harry's</c:v>
                </c:pt>
                <c:pt idx="48">
                  <c:v>Gillette</c:v>
                </c:pt>
                <c:pt idx="49">
                  <c:v>Dollar Shav</c:v>
                </c:pt>
                <c:pt idx="50">
                  <c:v>Gillette</c:v>
                </c:pt>
                <c:pt idx="51">
                  <c:v>Cremo</c:v>
                </c:pt>
                <c:pt idx="52">
                  <c:v>Cremo</c:v>
                </c:pt>
                <c:pt idx="53">
                  <c:v>Gillette</c:v>
                </c:pt>
                <c:pt idx="54">
                  <c:v>Gillette</c:v>
                </c:pt>
                <c:pt idx="55">
                  <c:v>Harry's</c:v>
                </c:pt>
                <c:pt idx="56">
                  <c:v>Schick</c:v>
                </c:pt>
                <c:pt idx="57">
                  <c:v>Dollar Shav</c:v>
                </c:pt>
                <c:pt idx="58">
                  <c:v>Unilever: A</c:v>
                </c:pt>
                <c:pt idx="59">
                  <c:v>Schick</c:v>
                </c:pt>
                <c:pt idx="60">
                  <c:v>Gillette</c:v>
                </c:pt>
                <c:pt idx="61">
                  <c:v>Van Der Hag</c:v>
                </c:pt>
                <c:pt idx="62">
                  <c:v>Equate</c:v>
                </c:pt>
                <c:pt idx="63">
                  <c:v>Gillette</c:v>
                </c:pt>
                <c:pt idx="64">
                  <c:v>Schick</c:v>
                </c:pt>
                <c:pt idx="65">
                  <c:v>Dollar Shav</c:v>
                </c:pt>
                <c:pt idx="66">
                  <c:v>Schick</c:v>
                </c:pt>
                <c:pt idx="67">
                  <c:v>Van Der Hag</c:v>
                </c:pt>
                <c:pt idx="68">
                  <c:v>Schick</c:v>
                </c:pt>
                <c:pt idx="69">
                  <c:v>Gillette</c:v>
                </c:pt>
                <c:pt idx="70">
                  <c:v>Gillette</c:v>
                </c:pt>
                <c:pt idx="71">
                  <c:v>Gillette</c:v>
                </c:pt>
                <c:pt idx="72">
                  <c:v>Dollar Shav</c:v>
                </c:pt>
                <c:pt idx="73">
                  <c:v>Gillette</c:v>
                </c:pt>
                <c:pt idx="74">
                  <c:v>Gillette</c:v>
                </c:pt>
                <c:pt idx="75">
                  <c:v>Gillette</c:v>
                </c:pt>
                <c:pt idx="76">
                  <c:v>Schick</c:v>
                </c:pt>
                <c:pt idx="77">
                  <c:v>Equate</c:v>
                </c:pt>
                <c:pt idx="78">
                  <c:v>Schick</c:v>
                </c:pt>
                <c:pt idx="79">
                  <c:v>All Others</c:v>
                </c:pt>
                <c:pt idx="80">
                  <c:v>Gillette</c:v>
                </c:pt>
                <c:pt idx="81">
                  <c:v>Schick</c:v>
                </c:pt>
                <c:pt idx="82">
                  <c:v>Schick</c:v>
                </c:pt>
                <c:pt idx="83">
                  <c:v>Harry's</c:v>
                </c:pt>
                <c:pt idx="84">
                  <c:v>Equate</c:v>
                </c:pt>
                <c:pt idx="85">
                  <c:v>Schick</c:v>
                </c:pt>
                <c:pt idx="86">
                  <c:v>Gillette</c:v>
                </c:pt>
                <c:pt idx="87">
                  <c:v>Gillette</c:v>
                </c:pt>
                <c:pt idx="88">
                  <c:v>Equate</c:v>
                </c:pt>
                <c:pt idx="89">
                  <c:v>Gillette</c:v>
                </c:pt>
                <c:pt idx="90">
                  <c:v>Schick</c:v>
                </c:pt>
                <c:pt idx="91">
                  <c:v>Edgewell Pe</c:v>
                </c:pt>
                <c:pt idx="92">
                  <c:v>Gillette</c:v>
                </c:pt>
                <c:pt idx="93">
                  <c:v>Dollar Shav</c:v>
                </c:pt>
                <c:pt idx="94">
                  <c:v>Equate</c:v>
                </c:pt>
                <c:pt idx="95">
                  <c:v>Gillette</c:v>
                </c:pt>
                <c:pt idx="96">
                  <c:v>Dollar Shav</c:v>
                </c:pt>
                <c:pt idx="97">
                  <c:v>Dollar Shav</c:v>
                </c:pt>
                <c:pt idx="98">
                  <c:v>Gillette</c:v>
                </c:pt>
                <c:pt idx="99">
                  <c:v>Schick</c:v>
                </c:pt>
                <c:pt idx="100">
                  <c:v>Schick</c:v>
                </c:pt>
                <c:pt idx="101">
                  <c:v>Gillette</c:v>
                </c:pt>
                <c:pt idx="102">
                  <c:v>Gillette</c:v>
                </c:pt>
                <c:pt idx="103">
                  <c:v>Schick</c:v>
                </c:pt>
              </c:strCache>
            </c:strRef>
          </c:cat>
          <c:val>
            <c:numRef>
              <c:f>Sheet1!$C$2:$C$105</c:f>
              <c:numCache>
                <c:formatCode>General</c:formatCode>
                <c:ptCount val="104"/>
                <c:pt idx="0">
                  <c:v>0.12308699612575454</c:v>
                </c:pt>
                <c:pt idx="1">
                  <c:v>0.22169717203232286</c:v>
                </c:pt>
                <c:pt idx="2">
                  <c:v>0.30000944583341527</c:v>
                </c:pt>
                <c:pt idx="3">
                  <c:v>0.36978396190527002</c:v>
                </c:pt>
                <c:pt idx="4">
                  <c:v>0.43435190297926091</c:v>
                </c:pt>
                <c:pt idx="5">
                  <c:v>0.49274297225814329</c:v>
                </c:pt>
                <c:pt idx="6">
                  <c:v>0.53966305087626187</c:v>
                </c:pt>
                <c:pt idx="7">
                  <c:v>0.58532969393137368</c:v>
                </c:pt>
                <c:pt idx="8">
                  <c:v>0.62689415945475413</c:v>
                </c:pt>
                <c:pt idx="9">
                  <c:v>0.66482255153294545</c:v>
                </c:pt>
                <c:pt idx="10">
                  <c:v>0.70223558417355159</c:v>
                </c:pt>
                <c:pt idx="11">
                  <c:v>0.73735143301361306</c:v>
                </c:pt>
                <c:pt idx="12">
                  <c:v>0.76722975076265387</c:v>
                </c:pt>
                <c:pt idx="13">
                  <c:v>0.79383646285775822</c:v>
                </c:pt>
                <c:pt idx="14">
                  <c:v>0.81540937075375897</c:v>
                </c:pt>
                <c:pt idx="15">
                  <c:v>0.83591613335626891</c:v>
                </c:pt>
                <c:pt idx="16">
                  <c:v>0.85357020156841545</c:v>
                </c:pt>
                <c:pt idx="17">
                  <c:v>0.86981971542055392</c:v>
                </c:pt>
                <c:pt idx="18">
                  <c:v>0.88299112873057273</c:v>
                </c:pt>
                <c:pt idx="19">
                  <c:v>0.89579246817083058</c:v>
                </c:pt>
                <c:pt idx="20">
                  <c:v>0.90817189795868603</c:v>
                </c:pt>
                <c:pt idx="21">
                  <c:v>0.91833332866917294</c:v>
                </c:pt>
                <c:pt idx="22">
                  <c:v>0.92831720024479936</c:v>
                </c:pt>
                <c:pt idx="23">
                  <c:v>0.93815069807761842</c:v>
                </c:pt>
                <c:pt idx="24">
                  <c:v>0.94747965793071842</c:v>
                </c:pt>
                <c:pt idx="25">
                  <c:v>0.9562323728809432</c:v>
                </c:pt>
                <c:pt idx="26">
                  <c:v>0.96447282672870649</c:v>
                </c:pt>
                <c:pt idx="27">
                  <c:v>0.9709287031474032</c:v>
                </c:pt>
                <c:pt idx="28">
                  <c:v>0.97642599465734348</c:v>
                </c:pt>
                <c:pt idx="29">
                  <c:v>0.9817577932759548</c:v>
                </c:pt>
                <c:pt idx="30">
                  <c:v>0.9857648310215269</c:v>
                </c:pt>
                <c:pt idx="31">
                  <c:v>0.9896138991059239</c:v>
                </c:pt>
                <c:pt idx="32">
                  <c:v>0.99274882365937389</c:v>
                </c:pt>
                <c:pt idx="33">
                  <c:v>0.99571453005052513</c:v>
                </c:pt>
                <c:pt idx="34">
                  <c:v>0.99789052442620185</c:v>
                </c:pt>
                <c:pt idx="35">
                  <c:v>0.99898025704515059</c:v>
                </c:pt>
                <c:pt idx="36">
                  <c:v>0.99979085783613642</c:v>
                </c:pt>
                <c:pt idx="37">
                  <c:v>0.99983378022653047</c:v>
                </c:pt>
                <c:pt idx="38">
                  <c:v>0.99987092390390786</c:v>
                </c:pt>
                <c:pt idx="39">
                  <c:v>0.99988978649545279</c:v>
                </c:pt>
                <c:pt idx="40">
                  <c:v>0.99990572338638239</c:v>
                </c:pt>
                <c:pt idx="41">
                  <c:v>0.999921396782536</c:v>
                </c:pt>
                <c:pt idx="42">
                  <c:v>0.99993276340200743</c:v>
                </c:pt>
                <c:pt idx="43">
                  <c:v>0.99994033206229493</c:v>
                </c:pt>
                <c:pt idx="44">
                  <c:v>0.99994757362561926</c:v>
                </c:pt>
                <c:pt idx="45">
                  <c:v>0.99995441540376628</c:v>
                </c:pt>
                <c:pt idx="46">
                  <c:v>0.99996100277316424</c:v>
                </c:pt>
                <c:pt idx="47">
                  <c:v>0.99996585471145183</c:v>
                </c:pt>
                <c:pt idx="48">
                  <c:v>0.99996931648764575</c:v>
                </c:pt>
                <c:pt idx="49">
                  <c:v>0.99997212406991332</c:v>
                </c:pt>
                <c:pt idx="50">
                  <c:v>0.99997455003905711</c:v>
                </c:pt>
                <c:pt idx="51">
                  <c:v>0.99997693057806714</c:v>
                </c:pt>
                <c:pt idx="52">
                  <c:v>0.99997890224587316</c:v>
                </c:pt>
                <c:pt idx="53">
                  <c:v>0.99998070127917082</c:v>
                </c:pt>
                <c:pt idx="54">
                  <c:v>0.9999824367102812</c:v>
                </c:pt>
                <c:pt idx="55">
                  <c:v>0.99998408128112404</c:v>
                </c:pt>
                <c:pt idx="56">
                  <c:v>0.99998544418513735</c:v>
                </c:pt>
                <c:pt idx="57">
                  <c:v>0.99998667079874937</c:v>
                </c:pt>
                <c:pt idx="58">
                  <c:v>0.99998775203593326</c:v>
                </c:pt>
                <c:pt idx="59">
                  <c:v>0.99998883327311716</c:v>
                </c:pt>
                <c:pt idx="60">
                  <c:v>0.99998979639195329</c:v>
                </c:pt>
                <c:pt idx="61">
                  <c:v>0.99999065956449507</c:v>
                </c:pt>
                <c:pt idx="62">
                  <c:v>0.99999145004882284</c:v>
                </c:pt>
                <c:pt idx="63">
                  <c:v>0.99999222236109708</c:v>
                </c:pt>
                <c:pt idx="64">
                  <c:v>0.9999929765013178</c:v>
                </c:pt>
                <c:pt idx="65">
                  <c:v>0.99999370338345828</c:v>
                </c:pt>
                <c:pt idx="66">
                  <c:v>0.99999438483546499</c:v>
                </c:pt>
                <c:pt idx="67">
                  <c:v>0.99999487548090982</c:v>
                </c:pt>
                <c:pt idx="68">
                  <c:v>0.99999528435211382</c:v>
                </c:pt>
                <c:pt idx="69">
                  <c:v>0.99999565687921077</c:v>
                </c:pt>
                <c:pt idx="70">
                  <c:v>0.99999601123425419</c:v>
                </c:pt>
                <c:pt idx="71">
                  <c:v>0.99999633833121737</c:v>
                </c:pt>
                <c:pt idx="72">
                  <c:v>0.99999665634215384</c:v>
                </c:pt>
                <c:pt idx="73">
                  <c:v>0.99999692892295655</c:v>
                </c:pt>
                <c:pt idx="74">
                  <c:v>0.99999720150375926</c:v>
                </c:pt>
                <c:pt idx="75">
                  <c:v>0.99999741956840138</c:v>
                </c:pt>
                <c:pt idx="76">
                  <c:v>0.9999976376330435</c:v>
                </c:pt>
                <c:pt idx="77">
                  <c:v>0.99999783752563209</c:v>
                </c:pt>
                <c:pt idx="78">
                  <c:v>0.99999802833219398</c:v>
                </c:pt>
                <c:pt idx="79">
                  <c:v>0.9999981827946488</c:v>
                </c:pt>
                <c:pt idx="80">
                  <c:v>0.99999832817107692</c:v>
                </c:pt>
                <c:pt idx="81">
                  <c:v>0.99999846446147822</c:v>
                </c:pt>
                <c:pt idx="82">
                  <c:v>0.99999860075187952</c:v>
                </c:pt>
                <c:pt idx="83">
                  <c:v>0.99999873704228082</c:v>
                </c:pt>
                <c:pt idx="84">
                  <c:v>0.99999886424665541</c:v>
                </c:pt>
                <c:pt idx="85">
                  <c:v>0.99999899145102999</c:v>
                </c:pt>
                <c:pt idx="86">
                  <c:v>0.99999910956937776</c:v>
                </c:pt>
                <c:pt idx="87">
                  <c:v>0.9999992004296453</c:v>
                </c:pt>
                <c:pt idx="88">
                  <c:v>0.99999929128991283</c:v>
                </c:pt>
                <c:pt idx="89">
                  <c:v>0.99999937306415365</c:v>
                </c:pt>
                <c:pt idx="90">
                  <c:v>0.99999945483839447</c:v>
                </c:pt>
                <c:pt idx="91">
                  <c:v>0.99999952752660848</c:v>
                </c:pt>
                <c:pt idx="92">
                  <c:v>0.99999959112879577</c:v>
                </c:pt>
                <c:pt idx="93">
                  <c:v>0.99999965473098307</c:v>
                </c:pt>
                <c:pt idx="94">
                  <c:v>0.99999971833317036</c:v>
                </c:pt>
                <c:pt idx="95">
                  <c:v>0.99999978193535766</c:v>
                </c:pt>
                <c:pt idx="96">
                  <c:v>0.99999983645151824</c:v>
                </c:pt>
                <c:pt idx="97">
                  <c:v>0.9999998727956253</c:v>
                </c:pt>
                <c:pt idx="98">
                  <c:v>0.99999990005370554</c:v>
                </c:pt>
                <c:pt idx="99">
                  <c:v>0.99999992731178577</c:v>
                </c:pt>
                <c:pt idx="100">
                  <c:v>0.99999995456986601</c:v>
                </c:pt>
                <c:pt idx="101">
                  <c:v>0.99999997274191954</c:v>
                </c:pt>
                <c:pt idx="102">
                  <c:v>0.99999999091397307</c:v>
                </c:pt>
                <c:pt idx="103">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Gillette</c:v>
                </c:pt>
                <c:pt idx="2">
                  <c:v>Gillette</c:v>
                </c:pt>
                <c:pt idx="3">
                  <c:v>Gillette</c:v>
                </c:pt>
                <c:pt idx="4">
                  <c:v>Cremo</c:v>
                </c:pt>
                <c:pt idx="5">
                  <c:v>Gillette</c:v>
                </c:pt>
              </c:strCache>
            </c:strRef>
          </c:cat>
          <c:val>
            <c:numRef>
              <c:f>Sheet1!$B$2:$B$7</c:f>
              <c:numCache>
                <c:formatCode>General</c:formatCode>
                <c:ptCount val="6"/>
                <c:pt idx="0">
                  <c:v>0.91</c:v>
                </c:pt>
                <c:pt idx="1">
                  <c:v>0.63</c:v>
                </c:pt>
                <c:pt idx="2">
                  <c:v>0.66</c:v>
                </c:pt>
                <c:pt idx="3">
                  <c:v>0.15</c:v>
                </c:pt>
                <c:pt idx="4">
                  <c:v>0.01</c:v>
                </c:pt>
                <c:pt idx="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Gillette</c:v>
                </c:pt>
                <c:pt idx="2">
                  <c:v>Gillette</c:v>
                </c:pt>
                <c:pt idx="3">
                  <c:v>Gillette</c:v>
                </c:pt>
                <c:pt idx="4">
                  <c:v>Cremo</c:v>
                </c:pt>
                <c:pt idx="5">
                  <c:v>Gillette</c:v>
                </c:pt>
              </c:strCache>
            </c:strRef>
          </c:cat>
          <c:val>
            <c:numRef>
              <c:f>Sheet1!$C$2:$C$7</c:f>
              <c:numCache>
                <c:formatCode>General</c:formatCode>
                <c:ptCount val="6"/>
                <c:pt idx="0">
                  <c:v>0.59937289033806429</c:v>
                </c:pt>
                <c:pt idx="1">
                  <c:v>0.94846527784025447</c:v>
                </c:pt>
                <c:pt idx="2">
                  <c:v>0.98521446953368619</c:v>
                </c:pt>
                <c:pt idx="3">
                  <c:v>0.99996855455035782</c:v>
                </c:pt>
                <c:pt idx="4">
                  <c:v>0.99999417359516163</c:v>
                </c:pt>
                <c:pt idx="5">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Gillette</c:v>
                </c:pt>
                <c:pt idx="1">
                  <c:v>Harry's</c:v>
                </c:pt>
                <c:pt idx="2">
                  <c:v>Gillette</c:v>
                </c:pt>
                <c:pt idx="3">
                  <c:v>Gillette</c:v>
                </c:pt>
                <c:pt idx="4">
                  <c:v>Pbg Pl</c:v>
                </c:pt>
                <c:pt idx="5">
                  <c:v>Dollar Shav</c:v>
                </c:pt>
                <c:pt idx="6">
                  <c:v>Harry's</c:v>
                </c:pt>
              </c:strCache>
            </c:strRef>
          </c:cat>
          <c:val>
            <c:numRef>
              <c:f>Sheet1!$B$2:$B$8</c:f>
              <c:numCache>
                <c:formatCode>General</c:formatCode>
                <c:ptCount val="7"/>
                <c:pt idx="0">
                  <c:v>0.98</c:v>
                </c:pt>
                <c:pt idx="1">
                  <c:v>0.99</c:v>
                </c:pt>
                <c:pt idx="2">
                  <c:v>0.97</c:v>
                </c:pt>
                <c:pt idx="3">
                  <c:v>0.88</c:v>
                </c:pt>
                <c:pt idx="4">
                  <c:v>0.6</c:v>
                </c:pt>
                <c:pt idx="5">
                  <c:v>0.01</c:v>
                </c:pt>
                <c:pt idx="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Gillette</c:v>
                </c:pt>
                <c:pt idx="1">
                  <c:v>Harry's</c:v>
                </c:pt>
                <c:pt idx="2">
                  <c:v>Gillette</c:v>
                </c:pt>
                <c:pt idx="3">
                  <c:v>Gillette</c:v>
                </c:pt>
                <c:pt idx="4">
                  <c:v>Pbg Pl</c:v>
                </c:pt>
                <c:pt idx="5">
                  <c:v>Dollar Shav</c:v>
                </c:pt>
                <c:pt idx="6">
                  <c:v>Harry's</c:v>
                </c:pt>
              </c:strCache>
            </c:strRef>
          </c:cat>
          <c:val>
            <c:numRef>
              <c:f>Sheet1!$C$2:$C$8</c:f>
              <c:numCache>
                <c:formatCode>General</c:formatCode>
                <c:ptCount val="7"/>
                <c:pt idx="0">
                  <c:v>0.4367633162117775</c:v>
                </c:pt>
                <c:pt idx="1">
                  <c:v>0.75068595215241607</c:v>
                </c:pt>
                <c:pt idx="2">
                  <c:v>0.93762910513655973</c:v>
                </c:pt>
                <c:pt idx="3">
                  <c:v>0.99499819775815368</c:v>
                </c:pt>
                <c:pt idx="4">
                  <c:v>0.99995382045828074</c:v>
                </c:pt>
                <c:pt idx="5">
                  <c:v>0.99999612587737252</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5</c:f>
              <c:strCache>
                <c:ptCount val="44"/>
                <c:pt idx="0">
                  <c:v>Gillette</c:v>
                </c:pt>
                <c:pt idx="1">
                  <c:v>Gillette</c:v>
                </c:pt>
                <c:pt idx="2">
                  <c:v>Gillette</c:v>
                </c:pt>
                <c:pt idx="3">
                  <c:v>Gillette</c:v>
                </c:pt>
                <c:pt idx="4">
                  <c:v>Harry's</c:v>
                </c:pt>
                <c:pt idx="5">
                  <c:v>Dollar Shav</c:v>
                </c:pt>
                <c:pt idx="6">
                  <c:v>Schick</c:v>
                </c:pt>
                <c:pt idx="7">
                  <c:v>Harry's</c:v>
                </c:pt>
                <c:pt idx="8">
                  <c:v>Harry's</c:v>
                </c:pt>
                <c:pt idx="9">
                  <c:v>Gillette</c:v>
                </c:pt>
                <c:pt idx="10">
                  <c:v>Gillette</c:v>
                </c:pt>
                <c:pt idx="11">
                  <c:v>Gillette</c:v>
                </c:pt>
                <c:pt idx="12">
                  <c:v>Equate</c:v>
                </c:pt>
                <c:pt idx="13">
                  <c:v>Gillette</c:v>
                </c:pt>
                <c:pt idx="14">
                  <c:v>Gillette</c:v>
                </c:pt>
                <c:pt idx="15">
                  <c:v>Gillette</c:v>
                </c:pt>
                <c:pt idx="16">
                  <c:v>Gillette</c:v>
                </c:pt>
                <c:pt idx="17">
                  <c:v>Harry's</c:v>
                </c:pt>
                <c:pt idx="18">
                  <c:v>Gillette</c:v>
                </c:pt>
                <c:pt idx="19">
                  <c:v>Dollar Shav</c:v>
                </c:pt>
                <c:pt idx="20">
                  <c:v>Van Der Hag</c:v>
                </c:pt>
                <c:pt idx="21">
                  <c:v>Gillette</c:v>
                </c:pt>
                <c:pt idx="22">
                  <c:v>Gillette</c:v>
                </c:pt>
                <c:pt idx="23">
                  <c:v>Harry's</c:v>
                </c:pt>
                <c:pt idx="24">
                  <c:v>Gillette</c:v>
                </c:pt>
                <c:pt idx="25">
                  <c:v>Gillette</c:v>
                </c:pt>
                <c:pt idx="26">
                  <c:v>Harry's</c:v>
                </c:pt>
                <c:pt idx="27">
                  <c:v>Gillette</c:v>
                </c:pt>
                <c:pt idx="28">
                  <c:v>Gillette</c:v>
                </c:pt>
                <c:pt idx="29">
                  <c:v>Schick</c:v>
                </c:pt>
                <c:pt idx="30">
                  <c:v>Gillette</c:v>
                </c:pt>
                <c:pt idx="31">
                  <c:v>Dollar Shav</c:v>
                </c:pt>
                <c:pt idx="32">
                  <c:v>Gillette</c:v>
                </c:pt>
                <c:pt idx="33">
                  <c:v>Harry's</c:v>
                </c:pt>
                <c:pt idx="34">
                  <c:v>Schick</c:v>
                </c:pt>
                <c:pt idx="35">
                  <c:v>Dollar Shav</c:v>
                </c:pt>
                <c:pt idx="36">
                  <c:v>Gillette</c:v>
                </c:pt>
                <c:pt idx="37">
                  <c:v>Gillette</c:v>
                </c:pt>
                <c:pt idx="38">
                  <c:v>Schick</c:v>
                </c:pt>
                <c:pt idx="39">
                  <c:v>Gillette</c:v>
                </c:pt>
                <c:pt idx="40">
                  <c:v>Equate</c:v>
                </c:pt>
                <c:pt idx="41">
                  <c:v>Equate</c:v>
                </c:pt>
                <c:pt idx="42">
                  <c:v>Gillette</c:v>
                </c:pt>
                <c:pt idx="43">
                  <c:v>Gillette</c:v>
                </c:pt>
              </c:strCache>
            </c:strRef>
          </c:cat>
          <c:val>
            <c:numRef>
              <c:f>Sheet1!$B$2:$B$45</c:f>
              <c:numCache>
                <c:formatCode>General</c:formatCode>
                <c:ptCount val="44"/>
                <c:pt idx="0">
                  <c:v>0.76</c:v>
                </c:pt>
                <c:pt idx="1">
                  <c:v>0.79</c:v>
                </c:pt>
                <c:pt idx="2">
                  <c:v>0.57999999999999996</c:v>
                </c:pt>
                <c:pt idx="3">
                  <c:v>0.71</c:v>
                </c:pt>
                <c:pt idx="4">
                  <c:v>0.69</c:v>
                </c:pt>
                <c:pt idx="5">
                  <c:v>0.68</c:v>
                </c:pt>
                <c:pt idx="6">
                  <c:v>0.61</c:v>
                </c:pt>
                <c:pt idx="7">
                  <c:v>0.37</c:v>
                </c:pt>
                <c:pt idx="8">
                  <c:v>0.49</c:v>
                </c:pt>
                <c:pt idx="9">
                  <c:v>0.42</c:v>
                </c:pt>
                <c:pt idx="10">
                  <c:v>0.56999999999999995</c:v>
                </c:pt>
                <c:pt idx="11">
                  <c:v>0.42</c:v>
                </c:pt>
                <c:pt idx="12">
                  <c:v>0.53</c:v>
                </c:pt>
                <c:pt idx="13">
                  <c:v>0.28999999999999998</c:v>
                </c:pt>
                <c:pt idx="14">
                  <c:v>0.16</c:v>
                </c:pt>
                <c:pt idx="15">
                  <c:v>0.18</c:v>
                </c:pt>
                <c:pt idx="16">
                  <c:v>0.21</c:v>
                </c:pt>
                <c:pt idx="17">
                  <c:v>0.27</c:v>
                </c:pt>
                <c:pt idx="18">
                  <c:v>0.23</c:v>
                </c:pt>
                <c:pt idx="19">
                  <c:v>0.34</c:v>
                </c:pt>
                <c:pt idx="20">
                  <c:v>0.06</c:v>
                </c:pt>
                <c:pt idx="21">
                  <c:v>0.01</c:v>
                </c:pt>
                <c:pt idx="22">
                  <c:v>0.01</c:v>
                </c:pt>
                <c:pt idx="23">
                  <c:v>0.01</c:v>
                </c:pt>
                <c:pt idx="24">
                  <c:v>0.01</c:v>
                </c:pt>
                <c:pt idx="25">
                  <c:v>0.01</c:v>
                </c:pt>
                <c:pt idx="26">
                  <c:v>0.01</c:v>
                </c:pt>
                <c:pt idx="27">
                  <c:v>0.01</c:v>
                </c:pt>
                <c:pt idx="28">
                  <c:v>0.01</c:v>
                </c:pt>
                <c:pt idx="29">
                  <c:v>0.01</c:v>
                </c:pt>
                <c:pt idx="30">
                  <c:v>0.01</c:v>
                </c:pt>
                <c:pt idx="31">
                  <c:v>0.01</c:v>
                </c:pt>
                <c:pt idx="32">
                  <c:v>0.01</c:v>
                </c:pt>
                <c:pt idx="33">
                  <c:v>0.01</c:v>
                </c:pt>
                <c:pt idx="34">
                  <c:v>0.01</c:v>
                </c:pt>
                <c:pt idx="35">
                  <c:v>0.01</c:v>
                </c:pt>
                <c:pt idx="36">
                  <c:v>0.01</c:v>
                </c:pt>
                <c:pt idx="37">
                  <c:v>0.01</c:v>
                </c:pt>
                <c:pt idx="38">
                  <c:v>0.01</c:v>
                </c:pt>
                <c:pt idx="39">
                  <c:v>0.01</c:v>
                </c:pt>
                <c:pt idx="40">
                  <c:v>0.01</c:v>
                </c:pt>
                <c:pt idx="41">
                  <c:v>0.01</c:v>
                </c:pt>
                <c:pt idx="42">
                  <c:v>0.01</c:v>
                </c:pt>
                <c:pt idx="4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5</c:f>
              <c:strCache>
                <c:ptCount val="44"/>
                <c:pt idx="0">
                  <c:v>Gillette</c:v>
                </c:pt>
                <c:pt idx="1">
                  <c:v>Gillette</c:v>
                </c:pt>
                <c:pt idx="2">
                  <c:v>Gillette</c:v>
                </c:pt>
                <c:pt idx="3">
                  <c:v>Gillette</c:v>
                </c:pt>
                <c:pt idx="4">
                  <c:v>Harry's</c:v>
                </c:pt>
                <c:pt idx="5">
                  <c:v>Dollar Shav</c:v>
                </c:pt>
                <c:pt idx="6">
                  <c:v>Schick</c:v>
                </c:pt>
                <c:pt idx="7">
                  <c:v>Harry's</c:v>
                </c:pt>
                <c:pt idx="8">
                  <c:v>Harry's</c:v>
                </c:pt>
                <c:pt idx="9">
                  <c:v>Gillette</c:v>
                </c:pt>
                <c:pt idx="10">
                  <c:v>Gillette</c:v>
                </c:pt>
                <c:pt idx="11">
                  <c:v>Gillette</c:v>
                </c:pt>
                <c:pt idx="12">
                  <c:v>Equate</c:v>
                </c:pt>
                <c:pt idx="13">
                  <c:v>Gillette</c:v>
                </c:pt>
                <c:pt idx="14">
                  <c:v>Gillette</c:v>
                </c:pt>
                <c:pt idx="15">
                  <c:v>Gillette</c:v>
                </c:pt>
                <c:pt idx="16">
                  <c:v>Gillette</c:v>
                </c:pt>
                <c:pt idx="17">
                  <c:v>Harry's</c:v>
                </c:pt>
                <c:pt idx="18">
                  <c:v>Gillette</c:v>
                </c:pt>
                <c:pt idx="19">
                  <c:v>Dollar Shav</c:v>
                </c:pt>
                <c:pt idx="20">
                  <c:v>Van Der Hag</c:v>
                </c:pt>
                <c:pt idx="21">
                  <c:v>Gillette</c:v>
                </c:pt>
                <c:pt idx="22">
                  <c:v>Gillette</c:v>
                </c:pt>
                <c:pt idx="23">
                  <c:v>Harry's</c:v>
                </c:pt>
                <c:pt idx="24">
                  <c:v>Gillette</c:v>
                </c:pt>
                <c:pt idx="25">
                  <c:v>Gillette</c:v>
                </c:pt>
                <c:pt idx="26">
                  <c:v>Harry's</c:v>
                </c:pt>
                <c:pt idx="27">
                  <c:v>Gillette</c:v>
                </c:pt>
                <c:pt idx="28">
                  <c:v>Gillette</c:v>
                </c:pt>
                <c:pt idx="29">
                  <c:v>Schick</c:v>
                </c:pt>
                <c:pt idx="30">
                  <c:v>Gillette</c:v>
                </c:pt>
                <c:pt idx="31">
                  <c:v>Dollar Shav</c:v>
                </c:pt>
                <c:pt idx="32">
                  <c:v>Gillette</c:v>
                </c:pt>
                <c:pt idx="33">
                  <c:v>Harry's</c:v>
                </c:pt>
                <c:pt idx="34">
                  <c:v>Schick</c:v>
                </c:pt>
                <c:pt idx="35">
                  <c:v>Dollar Shav</c:v>
                </c:pt>
                <c:pt idx="36">
                  <c:v>Gillette</c:v>
                </c:pt>
                <c:pt idx="37">
                  <c:v>Gillette</c:v>
                </c:pt>
                <c:pt idx="38">
                  <c:v>Schick</c:v>
                </c:pt>
                <c:pt idx="39">
                  <c:v>Gillette</c:v>
                </c:pt>
                <c:pt idx="40">
                  <c:v>Equate</c:v>
                </c:pt>
                <c:pt idx="41">
                  <c:v>Equate</c:v>
                </c:pt>
                <c:pt idx="42">
                  <c:v>Gillette</c:v>
                </c:pt>
                <c:pt idx="43">
                  <c:v>Gillette</c:v>
                </c:pt>
              </c:strCache>
            </c:strRef>
          </c:cat>
          <c:val>
            <c:numRef>
              <c:f>Sheet1!$C$2:$C$45</c:f>
              <c:numCache>
                <c:formatCode>General</c:formatCode>
                <c:ptCount val="44"/>
                <c:pt idx="0">
                  <c:v>0.15836197139623417</c:v>
                </c:pt>
                <c:pt idx="1">
                  <c:v>0.29774649468239345</c:v>
                </c:pt>
                <c:pt idx="2">
                  <c:v>0.39383962061192229</c:v>
                </c:pt>
                <c:pt idx="3">
                  <c:v>0.47369445042045105</c:v>
                </c:pt>
                <c:pt idx="4">
                  <c:v>0.55070031522135654</c:v>
                </c:pt>
                <c:pt idx="5">
                  <c:v>0.60602793029585911</c:v>
                </c:pt>
                <c:pt idx="6">
                  <c:v>0.66015733006575683</c:v>
                </c:pt>
                <c:pt idx="7">
                  <c:v>0.71180031615673145</c:v>
                </c:pt>
                <c:pt idx="8">
                  <c:v>0.76184381109167609</c:v>
                </c:pt>
                <c:pt idx="9">
                  <c:v>0.81025545089749229</c:v>
                </c:pt>
                <c:pt idx="10">
                  <c:v>0.85866147845363816</c:v>
                </c:pt>
                <c:pt idx="11">
                  <c:v>0.89159191461897502</c:v>
                </c:pt>
                <c:pt idx="12">
                  <c:v>0.92433808192013767</c:v>
                </c:pt>
                <c:pt idx="13">
                  <c:v>0.94796041493232563</c:v>
                </c:pt>
                <c:pt idx="14">
                  <c:v>0.96089440552245364</c:v>
                </c:pt>
                <c:pt idx="15">
                  <c:v>0.96983752537204537</c:v>
                </c:pt>
                <c:pt idx="16">
                  <c:v>0.97851219261240863</c:v>
                </c:pt>
                <c:pt idx="17">
                  <c:v>0.98515896697191063</c:v>
                </c:pt>
                <c:pt idx="18">
                  <c:v>0.99147405737589911</c:v>
                </c:pt>
                <c:pt idx="19">
                  <c:v>0.99698135797734522</c:v>
                </c:pt>
                <c:pt idx="20">
                  <c:v>0.99904741415596443</c:v>
                </c:pt>
                <c:pt idx="21">
                  <c:v>0.99932596881459934</c:v>
                </c:pt>
                <c:pt idx="22">
                  <c:v>0.99945542470699378</c:v>
                </c:pt>
                <c:pt idx="23">
                  <c:v>0.99958188739956411</c:v>
                </c:pt>
                <c:pt idx="24">
                  <c:v>0.99969076504316756</c:v>
                </c:pt>
                <c:pt idx="25">
                  <c:v>0.99974632631490334</c:v>
                </c:pt>
                <c:pt idx="26">
                  <c:v>0.99980057806171607</c:v>
                </c:pt>
                <c:pt idx="27">
                  <c:v>0.99984622435903436</c:v>
                </c:pt>
                <c:pt idx="28">
                  <c:v>0.99988420058180327</c:v>
                </c:pt>
                <c:pt idx="29">
                  <c:v>0.9999148808800008</c:v>
                </c:pt>
                <c:pt idx="30">
                  <c:v>0.99993246592896767</c:v>
                </c:pt>
                <c:pt idx="31">
                  <c:v>0.99994724485309938</c:v>
                </c:pt>
                <c:pt idx="32">
                  <c:v>0.99996183670224215</c:v>
                </c:pt>
                <c:pt idx="33">
                  <c:v>0.99997306120158269</c:v>
                </c:pt>
                <c:pt idx="34">
                  <c:v>0.99998129250109913</c:v>
                </c:pt>
                <c:pt idx="35">
                  <c:v>0.99998615645081335</c:v>
                </c:pt>
                <c:pt idx="36">
                  <c:v>0.99998952380061557</c:v>
                </c:pt>
                <c:pt idx="37">
                  <c:v>0.99999232992545073</c:v>
                </c:pt>
                <c:pt idx="38">
                  <c:v>0.99999494897529684</c:v>
                </c:pt>
                <c:pt idx="39">
                  <c:v>0.99999681972518695</c:v>
                </c:pt>
                <c:pt idx="40">
                  <c:v>0.999998503400088</c:v>
                </c:pt>
                <c:pt idx="41">
                  <c:v>0.999999251700044</c:v>
                </c:pt>
                <c:pt idx="42">
                  <c:v>0.99999981292501106</c:v>
                </c:pt>
                <c:pt idx="4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4</c:f>
              <c:strCache>
                <c:ptCount val="63"/>
                <c:pt idx="0">
                  <c:v>Gillette</c:v>
                </c:pt>
                <c:pt idx="1">
                  <c:v>Gillette</c:v>
                </c:pt>
                <c:pt idx="2">
                  <c:v>Gillette</c:v>
                </c:pt>
                <c:pt idx="3">
                  <c:v>Gillette</c:v>
                </c:pt>
                <c:pt idx="4">
                  <c:v>Harry's</c:v>
                </c:pt>
                <c:pt idx="5">
                  <c:v>Harry's</c:v>
                </c:pt>
                <c:pt idx="6">
                  <c:v>Gillette</c:v>
                </c:pt>
                <c:pt idx="7">
                  <c:v>Gillette</c:v>
                </c:pt>
                <c:pt idx="8">
                  <c:v>Gillette</c:v>
                </c:pt>
                <c:pt idx="9">
                  <c:v>Harry's</c:v>
                </c:pt>
                <c:pt idx="10">
                  <c:v>Schick</c:v>
                </c:pt>
                <c:pt idx="11">
                  <c:v>Dollar Shav</c:v>
                </c:pt>
                <c:pt idx="12">
                  <c:v>Van Der Hag</c:v>
                </c:pt>
                <c:pt idx="13">
                  <c:v>Gillette</c:v>
                </c:pt>
                <c:pt idx="14">
                  <c:v>Gillette</c:v>
                </c:pt>
                <c:pt idx="15">
                  <c:v>Equate</c:v>
                </c:pt>
                <c:pt idx="16">
                  <c:v>Gillette</c:v>
                </c:pt>
                <c:pt idx="17">
                  <c:v>Gillette</c:v>
                </c:pt>
                <c:pt idx="18">
                  <c:v>Harry's</c:v>
                </c:pt>
                <c:pt idx="19">
                  <c:v>Gillette</c:v>
                </c:pt>
                <c:pt idx="20">
                  <c:v>Gillette</c:v>
                </c:pt>
                <c:pt idx="21">
                  <c:v>Gillette</c:v>
                </c:pt>
                <c:pt idx="22">
                  <c:v>Harry's</c:v>
                </c:pt>
                <c:pt idx="23">
                  <c:v>Gillette</c:v>
                </c:pt>
                <c:pt idx="24">
                  <c:v>Harry's</c:v>
                </c:pt>
                <c:pt idx="25">
                  <c:v>Gillette</c:v>
                </c:pt>
                <c:pt idx="26">
                  <c:v>Gillette</c:v>
                </c:pt>
                <c:pt idx="27">
                  <c:v>Dollar Shav</c:v>
                </c:pt>
                <c:pt idx="28">
                  <c:v>Gillette</c:v>
                </c:pt>
                <c:pt idx="29">
                  <c:v>Gillette</c:v>
                </c:pt>
                <c:pt idx="30">
                  <c:v>Gillette</c:v>
                </c:pt>
                <c:pt idx="31">
                  <c:v>Gillette</c:v>
                </c:pt>
                <c:pt idx="32">
                  <c:v>Gillette</c:v>
                </c:pt>
                <c:pt idx="33">
                  <c:v>Schick</c:v>
                </c:pt>
                <c:pt idx="34">
                  <c:v>Schick</c:v>
                </c:pt>
                <c:pt idx="35">
                  <c:v>Gillette</c:v>
                </c:pt>
                <c:pt idx="36">
                  <c:v>Cremo</c:v>
                </c:pt>
                <c:pt idx="37">
                  <c:v>Harry's</c:v>
                </c:pt>
                <c:pt idx="38">
                  <c:v>Gillette</c:v>
                </c:pt>
                <c:pt idx="39">
                  <c:v>Harry's</c:v>
                </c:pt>
                <c:pt idx="40">
                  <c:v>Schick</c:v>
                </c:pt>
                <c:pt idx="41">
                  <c:v>Schick</c:v>
                </c:pt>
                <c:pt idx="42">
                  <c:v>Gillette</c:v>
                </c:pt>
                <c:pt idx="43">
                  <c:v>Dollar Shav</c:v>
                </c:pt>
                <c:pt idx="44">
                  <c:v>Van Der Hag</c:v>
                </c:pt>
                <c:pt idx="45">
                  <c:v>Gillette</c:v>
                </c:pt>
                <c:pt idx="46">
                  <c:v>Cremo</c:v>
                </c:pt>
                <c:pt idx="47">
                  <c:v>Harry's</c:v>
                </c:pt>
                <c:pt idx="48">
                  <c:v>Gillette</c:v>
                </c:pt>
                <c:pt idx="49">
                  <c:v>All Others</c:v>
                </c:pt>
                <c:pt idx="50">
                  <c:v>Dollar Shav</c:v>
                </c:pt>
                <c:pt idx="51">
                  <c:v>Gillette</c:v>
                </c:pt>
                <c:pt idx="52">
                  <c:v>Cremo</c:v>
                </c:pt>
                <c:pt idx="53">
                  <c:v>Schick</c:v>
                </c:pt>
                <c:pt idx="54">
                  <c:v>Schick</c:v>
                </c:pt>
                <c:pt idx="55">
                  <c:v>Harry's</c:v>
                </c:pt>
                <c:pt idx="56">
                  <c:v>Schick</c:v>
                </c:pt>
                <c:pt idx="57">
                  <c:v>Schick</c:v>
                </c:pt>
                <c:pt idx="58">
                  <c:v>Dollar Shav</c:v>
                </c:pt>
                <c:pt idx="59">
                  <c:v>Edgewell Pe</c:v>
                </c:pt>
                <c:pt idx="60">
                  <c:v>Gillette</c:v>
                </c:pt>
                <c:pt idx="61">
                  <c:v>Schick</c:v>
                </c:pt>
                <c:pt idx="62">
                  <c:v>Equate</c:v>
                </c:pt>
              </c:strCache>
            </c:strRef>
          </c:cat>
          <c:val>
            <c:numRef>
              <c:f>Sheet1!$B$2:$B$64</c:f>
              <c:numCache>
                <c:formatCode>General</c:formatCode>
                <c:ptCount val="63"/>
                <c:pt idx="0">
                  <c:v>0.93</c:v>
                </c:pt>
                <c:pt idx="1">
                  <c:v>0.95</c:v>
                </c:pt>
                <c:pt idx="2">
                  <c:v>0.79</c:v>
                </c:pt>
                <c:pt idx="3">
                  <c:v>0.9</c:v>
                </c:pt>
                <c:pt idx="4">
                  <c:v>0.75</c:v>
                </c:pt>
                <c:pt idx="5">
                  <c:v>0.88</c:v>
                </c:pt>
                <c:pt idx="6">
                  <c:v>0.73</c:v>
                </c:pt>
                <c:pt idx="7">
                  <c:v>0.67</c:v>
                </c:pt>
                <c:pt idx="8">
                  <c:v>0.69</c:v>
                </c:pt>
                <c:pt idx="9">
                  <c:v>0.8</c:v>
                </c:pt>
                <c:pt idx="10">
                  <c:v>0.83</c:v>
                </c:pt>
                <c:pt idx="11">
                  <c:v>0.84</c:v>
                </c:pt>
                <c:pt idx="12">
                  <c:v>0.54</c:v>
                </c:pt>
                <c:pt idx="13">
                  <c:v>0.6</c:v>
                </c:pt>
                <c:pt idx="14">
                  <c:v>0.44</c:v>
                </c:pt>
                <c:pt idx="15">
                  <c:v>0.7</c:v>
                </c:pt>
                <c:pt idx="16">
                  <c:v>0.4</c:v>
                </c:pt>
                <c:pt idx="17">
                  <c:v>0.43</c:v>
                </c:pt>
                <c:pt idx="18">
                  <c:v>0.31</c:v>
                </c:pt>
                <c:pt idx="19">
                  <c:v>0.54</c:v>
                </c:pt>
                <c:pt idx="20">
                  <c:v>0.34</c:v>
                </c:pt>
                <c:pt idx="21">
                  <c:v>0.24</c:v>
                </c:pt>
                <c:pt idx="22">
                  <c:v>0.56999999999999995</c:v>
                </c:pt>
                <c:pt idx="23">
                  <c:v>0.59</c:v>
                </c:pt>
                <c:pt idx="24">
                  <c:v>0.14000000000000001</c:v>
                </c:pt>
                <c:pt idx="25">
                  <c:v>0.28000000000000003</c:v>
                </c:pt>
                <c:pt idx="26">
                  <c:v>0.4</c:v>
                </c:pt>
                <c:pt idx="27">
                  <c:v>0.62</c:v>
                </c:pt>
                <c:pt idx="28">
                  <c:v>0.19</c:v>
                </c:pt>
                <c:pt idx="29">
                  <c:v>0.28999999999999998</c:v>
                </c:pt>
                <c:pt idx="30">
                  <c:v>0.26</c:v>
                </c:pt>
                <c:pt idx="31">
                  <c:v>0.14000000000000001</c:v>
                </c:pt>
                <c:pt idx="32">
                  <c:v>0.05</c:v>
                </c:pt>
                <c:pt idx="33">
                  <c:v>0.05</c:v>
                </c:pt>
                <c:pt idx="34">
                  <c:v>0.04</c:v>
                </c:pt>
                <c:pt idx="35">
                  <c:v>0.05</c:v>
                </c:pt>
                <c:pt idx="36">
                  <c:v>0.05</c:v>
                </c:pt>
                <c:pt idx="37">
                  <c:v>0.01</c:v>
                </c:pt>
                <c:pt idx="38">
                  <c:v>0.01</c:v>
                </c:pt>
                <c:pt idx="39">
                  <c:v>0.01</c:v>
                </c:pt>
                <c:pt idx="40">
                  <c:v>0.01</c:v>
                </c:pt>
                <c:pt idx="41">
                  <c:v>0.01</c:v>
                </c:pt>
                <c:pt idx="42">
                  <c:v>0.01</c:v>
                </c:pt>
                <c:pt idx="43">
                  <c:v>0.01</c:v>
                </c:pt>
                <c:pt idx="44">
                  <c:v>0.01</c:v>
                </c:pt>
                <c:pt idx="45">
                  <c:v>0.01</c:v>
                </c:pt>
                <c:pt idx="46">
                  <c:v>0.01</c:v>
                </c:pt>
                <c:pt idx="47">
                  <c:v>0.01</c:v>
                </c:pt>
                <c:pt idx="48">
                  <c:v>0.01</c:v>
                </c:pt>
                <c:pt idx="49">
                  <c:v>0.01</c:v>
                </c:pt>
                <c:pt idx="50">
                  <c:v>0.01</c:v>
                </c:pt>
                <c:pt idx="51">
                  <c:v>0.01</c:v>
                </c:pt>
                <c:pt idx="52">
                  <c:v>0.01</c:v>
                </c:pt>
                <c:pt idx="53">
                  <c:v>0.01</c:v>
                </c:pt>
                <c:pt idx="54">
                  <c:v>0.01</c:v>
                </c:pt>
                <c:pt idx="55">
                  <c:v>0.01</c:v>
                </c:pt>
                <c:pt idx="56">
                  <c:v>0.01</c:v>
                </c:pt>
                <c:pt idx="57">
                  <c:v>0.01</c:v>
                </c:pt>
                <c:pt idx="58">
                  <c:v>0.01</c:v>
                </c:pt>
                <c:pt idx="59">
                  <c:v>0.01</c:v>
                </c:pt>
                <c:pt idx="60">
                  <c:v>0.01</c:v>
                </c:pt>
                <c:pt idx="61">
                  <c:v>0.01</c:v>
                </c:pt>
                <c:pt idx="6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4</c:f>
              <c:strCache>
                <c:ptCount val="63"/>
                <c:pt idx="0">
                  <c:v>Gillette</c:v>
                </c:pt>
                <c:pt idx="1">
                  <c:v>Gillette</c:v>
                </c:pt>
                <c:pt idx="2">
                  <c:v>Gillette</c:v>
                </c:pt>
                <c:pt idx="3">
                  <c:v>Gillette</c:v>
                </c:pt>
                <c:pt idx="4">
                  <c:v>Harry's</c:v>
                </c:pt>
                <c:pt idx="5">
                  <c:v>Harry's</c:v>
                </c:pt>
                <c:pt idx="6">
                  <c:v>Gillette</c:v>
                </c:pt>
                <c:pt idx="7">
                  <c:v>Gillette</c:v>
                </c:pt>
                <c:pt idx="8">
                  <c:v>Gillette</c:v>
                </c:pt>
                <c:pt idx="9">
                  <c:v>Harry's</c:v>
                </c:pt>
                <c:pt idx="10">
                  <c:v>Schick</c:v>
                </c:pt>
                <c:pt idx="11">
                  <c:v>Dollar Shav</c:v>
                </c:pt>
                <c:pt idx="12">
                  <c:v>Van Der Hag</c:v>
                </c:pt>
                <c:pt idx="13">
                  <c:v>Gillette</c:v>
                </c:pt>
                <c:pt idx="14">
                  <c:v>Gillette</c:v>
                </c:pt>
                <c:pt idx="15">
                  <c:v>Equate</c:v>
                </c:pt>
                <c:pt idx="16">
                  <c:v>Gillette</c:v>
                </c:pt>
                <c:pt idx="17">
                  <c:v>Gillette</c:v>
                </c:pt>
                <c:pt idx="18">
                  <c:v>Harry's</c:v>
                </c:pt>
                <c:pt idx="19">
                  <c:v>Gillette</c:v>
                </c:pt>
                <c:pt idx="20">
                  <c:v>Gillette</c:v>
                </c:pt>
                <c:pt idx="21">
                  <c:v>Gillette</c:v>
                </c:pt>
                <c:pt idx="22">
                  <c:v>Harry's</c:v>
                </c:pt>
                <c:pt idx="23">
                  <c:v>Gillette</c:v>
                </c:pt>
                <c:pt idx="24">
                  <c:v>Harry's</c:v>
                </c:pt>
                <c:pt idx="25">
                  <c:v>Gillette</c:v>
                </c:pt>
                <c:pt idx="26">
                  <c:v>Gillette</c:v>
                </c:pt>
                <c:pt idx="27">
                  <c:v>Dollar Shav</c:v>
                </c:pt>
                <c:pt idx="28">
                  <c:v>Gillette</c:v>
                </c:pt>
                <c:pt idx="29">
                  <c:v>Gillette</c:v>
                </c:pt>
                <c:pt idx="30">
                  <c:v>Gillette</c:v>
                </c:pt>
                <c:pt idx="31">
                  <c:v>Gillette</c:v>
                </c:pt>
                <c:pt idx="32">
                  <c:v>Gillette</c:v>
                </c:pt>
                <c:pt idx="33">
                  <c:v>Schick</c:v>
                </c:pt>
                <c:pt idx="34">
                  <c:v>Schick</c:v>
                </c:pt>
                <c:pt idx="35">
                  <c:v>Gillette</c:v>
                </c:pt>
                <c:pt idx="36">
                  <c:v>Cremo</c:v>
                </c:pt>
                <c:pt idx="37">
                  <c:v>Harry's</c:v>
                </c:pt>
                <c:pt idx="38">
                  <c:v>Gillette</c:v>
                </c:pt>
                <c:pt idx="39">
                  <c:v>Harry's</c:v>
                </c:pt>
                <c:pt idx="40">
                  <c:v>Schick</c:v>
                </c:pt>
                <c:pt idx="41">
                  <c:v>Schick</c:v>
                </c:pt>
                <c:pt idx="42">
                  <c:v>Gillette</c:v>
                </c:pt>
                <c:pt idx="43">
                  <c:v>Dollar Shav</c:v>
                </c:pt>
                <c:pt idx="44">
                  <c:v>Van Der Hag</c:v>
                </c:pt>
                <c:pt idx="45">
                  <c:v>Gillette</c:v>
                </c:pt>
                <c:pt idx="46">
                  <c:v>Cremo</c:v>
                </c:pt>
                <c:pt idx="47">
                  <c:v>Harry's</c:v>
                </c:pt>
                <c:pt idx="48">
                  <c:v>Gillette</c:v>
                </c:pt>
                <c:pt idx="49">
                  <c:v>All Others</c:v>
                </c:pt>
                <c:pt idx="50">
                  <c:v>Dollar Shav</c:v>
                </c:pt>
                <c:pt idx="51">
                  <c:v>Gillette</c:v>
                </c:pt>
                <c:pt idx="52">
                  <c:v>Cremo</c:v>
                </c:pt>
                <c:pt idx="53">
                  <c:v>Schick</c:v>
                </c:pt>
                <c:pt idx="54">
                  <c:v>Schick</c:v>
                </c:pt>
                <c:pt idx="55">
                  <c:v>Harry's</c:v>
                </c:pt>
                <c:pt idx="56">
                  <c:v>Schick</c:v>
                </c:pt>
                <c:pt idx="57">
                  <c:v>Schick</c:v>
                </c:pt>
                <c:pt idx="58">
                  <c:v>Dollar Shav</c:v>
                </c:pt>
                <c:pt idx="59">
                  <c:v>Edgewell Pe</c:v>
                </c:pt>
                <c:pt idx="60">
                  <c:v>Gillette</c:v>
                </c:pt>
                <c:pt idx="61">
                  <c:v>Schick</c:v>
                </c:pt>
                <c:pt idx="62">
                  <c:v>Equate</c:v>
                </c:pt>
              </c:strCache>
            </c:strRef>
          </c:cat>
          <c:val>
            <c:numRef>
              <c:f>Sheet1!$C$2:$C$64</c:f>
              <c:numCache>
                <c:formatCode>General</c:formatCode>
                <c:ptCount val="63"/>
                <c:pt idx="0">
                  <c:v>0.14684023274017932</c:v>
                </c:pt>
                <c:pt idx="1">
                  <c:v>0.25796547329394043</c:v>
                </c:pt>
                <c:pt idx="2">
                  <c:v>0.34234057043385863</c:v>
                </c:pt>
                <c:pt idx="3">
                  <c:v>0.41345532694117343</c:v>
                </c:pt>
                <c:pt idx="4">
                  <c:v>0.47385106437091479</c:v>
                </c:pt>
                <c:pt idx="5">
                  <c:v>0.53044993797174678</c:v>
                </c:pt>
                <c:pt idx="6">
                  <c:v>0.58292442726304217</c:v>
                </c:pt>
                <c:pt idx="7">
                  <c:v>0.63415891666737312</c:v>
                </c:pt>
                <c:pt idx="8">
                  <c:v>0.67837389896318145</c:v>
                </c:pt>
                <c:pt idx="9">
                  <c:v>0.71912547227662049</c:v>
                </c:pt>
                <c:pt idx="10">
                  <c:v>0.75940978492162392</c:v>
                </c:pt>
                <c:pt idx="11">
                  <c:v>0.79770085709199112</c:v>
                </c:pt>
                <c:pt idx="12">
                  <c:v>0.82305515286644004</c:v>
                </c:pt>
                <c:pt idx="13">
                  <c:v>0.8456657934671109</c:v>
                </c:pt>
                <c:pt idx="14">
                  <c:v>0.86769317067518958</c:v>
                </c:pt>
                <c:pt idx="15">
                  <c:v>0.88937875666556465</c:v>
                </c:pt>
                <c:pt idx="16">
                  <c:v>0.90353617561201693</c:v>
                </c:pt>
                <c:pt idx="17">
                  <c:v>0.91663671224824883</c:v>
                </c:pt>
                <c:pt idx="18">
                  <c:v>0.9274118252131428</c:v>
                </c:pt>
                <c:pt idx="19">
                  <c:v>0.93803617702496123</c:v>
                </c:pt>
                <c:pt idx="20">
                  <c:v>0.94615650901034576</c:v>
                </c:pt>
                <c:pt idx="21">
                  <c:v>0.95361021389150302</c:v>
                </c:pt>
                <c:pt idx="22">
                  <c:v>0.96034416496406905</c:v>
                </c:pt>
                <c:pt idx="23">
                  <c:v>0.96707472497039904</c:v>
                </c:pt>
                <c:pt idx="24">
                  <c:v>0.97267069073193357</c:v>
                </c:pt>
                <c:pt idx="25">
                  <c:v>0.97769709866024646</c:v>
                </c:pt>
                <c:pt idx="26">
                  <c:v>0.98257260414105729</c:v>
                </c:pt>
                <c:pt idx="27">
                  <c:v>0.98639913979953175</c:v>
                </c:pt>
                <c:pt idx="28">
                  <c:v>0.98934413953107236</c:v>
                </c:pt>
                <c:pt idx="29">
                  <c:v>0.99213512833772788</c:v>
                </c:pt>
                <c:pt idx="30">
                  <c:v>0.99487793574494687</c:v>
                </c:pt>
                <c:pt idx="31">
                  <c:v>0.99654082985042602</c:v>
                </c:pt>
                <c:pt idx="32">
                  <c:v>0.99754204215660536</c:v>
                </c:pt>
                <c:pt idx="33">
                  <c:v>0.99824794911139958</c:v>
                </c:pt>
                <c:pt idx="34">
                  <c:v>0.99886667740504331</c:v>
                </c:pt>
                <c:pt idx="35">
                  <c:v>0.99938423888931305</c:v>
                </c:pt>
                <c:pt idx="36">
                  <c:v>0.99971811761913265</c:v>
                </c:pt>
                <c:pt idx="37">
                  <c:v>0.9997920146041922</c:v>
                </c:pt>
                <c:pt idx="38">
                  <c:v>0.99984273930330569</c:v>
                </c:pt>
                <c:pt idx="39">
                  <c:v>0.99988654057552073</c:v>
                </c:pt>
                <c:pt idx="40">
                  <c:v>0.99991649499393875</c:v>
                </c:pt>
                <c:pt idx="41">
                  <c:v>0.99994136281300272</c:v>
                </c:pt>
                <c:pt idx="42">
                  <c:v>0.99994955788973972</c:v>
                </c:pt>
                <c:pt idx="43">
                  <c:v>0.99995718778877074</c:v>
                </c:pt>
                <c:pt idx="44">
                  <c:v>0.99996411121566919</c:v>
                </c:pt>
                <c:pt idx="45">
                  <c:v>0.99997032817043519</c:v>
                </c:pt>
                <c:pt idx="46">
                  <c:v>0.99997626253634819</c:v>
                </c:pt>
                <c:pt idx="47">
                  <c:v>0.99997993619143721</c:v>
                </c:pt>
                <c:pt idx="48">
                  <c:v>0.99998318596324676</c:v>
                </c:pt>
                <c:pt idx="49">
                  <c:v>0.99998587055735022</c:v>
                </c:pt>
                <c:pt idx="50">
                  <c:v>0.99998798997374772</c:v>
                </c:pt>
                <c:pt idx="51">
                  <c:v>0.99999010939014521</c:v>
                </c:pt>
                <c:pt idx="52">
                  <c:v>0.99999180492326323</c:v>
                </c:pt>
                <c:pt idx="53">
                  <c:v>0.99999335916195475</c:v>
                </c:pt>
                <c:pt idx="54">
                  <c:v>0.99999463081179329</c:v>
                </c:pt>
                <c:pt idx="55">
                  <c:v>0.99999576116720534</c:v>
                </c:pt>
                <c:pt idx="56">
                  <c:v>0.99999675022819079</c:v>
                </c:pt>
                <c:pt idx="57">
                  <c:v>0.99999773928917624</c:v>
                </c:pt>
                <c:pt idx="58">
                  <c:v>0.99999858705573519</c:v>
                </c:pt>
                <c:pt idx="59">
                  <c:v>0.99999915223344116</c:v>
                </c:pt>
                <c:pt idx="60">
                  <c:v>0.99999943482229414</c:v>
                </c:pt>
                <c:pt idx="61">
                  <c:v>0.99999971741114713</c:v>
                </c:pt>
                <c:pt idx="6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B$2:$B$5</c:f>
              <c:numCache>
                <c:formatCode>General</c:formatCode>
                <c:ptCount val="4"/>
                <c:pt idx="0">
                  <c:v>0.64685757162682911</c:v>
                </c:pt>
                <c:pt idx="1">
                  <c:v>0.30061391144213834</c:v>
                </c:pt>
                <c:pt idx="2">
                  <c:v>4.4594999991539257E-2</c:v>
                </c:pt>
                <c:pt idx="3">
                  <c:v>7.933516939493366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C$2:$C$5</c:f>
              <c:numCache>
                <c:formatCode>General</c:formatCode>
                <c:ptCount val="4"/>
                <c:pt idx="0">
                  <c:v>0.36050724637681159</c:v>
                </c:pt>
                <c:pt idx="1">
                  <c:v>0.38949275362318836</c:v>
                </c:pt>
                <c:pt idx="2">
                  <c:v>0.14492753623188406</c:v>
                </c:pt>
                <c:pt idx="3">
                  <c:v>0.10507246376811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D$2:$D$5</c:f>
              <c:numCache>
                <c:formatCode>General</c:formatCode>
                <c:ptCount val="4"/>
                <c:pt idx="0">
                  <c:v>55.732090368849775</c:v>
                </c:pt>
                <c:pt idx="1">
                  <c:v>129.56577816198543</c:v>
                </c:pt>
                <c:pt idx="2">
                  <c:v>324.98606628406839</c:v>
                </c:pt>
                <c:pt idx="3">
                  <c:v>1324.41216889650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3</c:f>
              <c:strCache>
                <c:ptCount val="102"/>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Schick</c:v>
                </c:pt>
                <c:pt idx="19">
                  <c:v>Gillette</c:v>
                </c:pt>
                <c:pt idx="20">
                  <c:v>Gillette</c:v>
                </c:pt>
                <c:pt idx="21">
                  <c:v>Harry's</c:v>
                </c:pt>
                <c:pt idx="22">
                  <c:v>Gillette</c:v>
                </c:pt>
                <c:pt idx="23">
                  <c:v>Gillette</c:v>
                </c:pt>
                <c:pt idx="24">
                  <c:v>Gillette</c:v>
                </c:pt>
                <c:pt idx="25">
                  <c:v>Gillette</c:v>
                </c:pt>
                <c:pt idx="26">
                  <c:v>Harry's</c:v>
                </c:pt>
                <c:pt idx="27">
                  <c:v>Gillette</c:v>
                </c:pt>
                <c:pt idx="28">
                  <c:v>Gillette</c:v>
                </c:pt>
                <c:pt idx="29">
                  <c:v>Gillette</c:v>
                </c:pt>
                <c:pt idx="30">
                  <c:v>Gillette</c:v>
                </c:pt>
                <c:pt idx="31">
                  <c:v>Dollar Shav</c:v>
                </c:pt>
                <c:pt idx="32">
                  <c:v>Gillette</c:v>
                </c:pt>
                <c:pt idx="33">
                  <c:v>Gillette</c:v>
                </c:pt>
                <c:pt idx="34">
                  <c:v>Gillette</c:v>
                </c:pt>
                <c:pt idx="35">
                  <c:v>Schick</c:v>
                </c:pt>
                <c:pt idx="36">
                  <c:v>Cremo</c:v>
                </c:pt>
                <c:pt idx="37">
                  <c:v>Harry's</c:v>
                </c:pt>
                <c:pt idx="38">
                  <c:v>Harry's</c:v>
                </c:pt>
                <c:pt idx="39">
                  <c:v>All Others</c:v>
                </c:pt>
                <c:pt idx="40">
                  <c:v>Gillette</c:v>
                </c:pt>
                <c:pt idx="41">
                  <c:v>Schick</c:v>
                </c:pt>
                <c:pt idx="42">
                  <c:v>Schick</c:v>
                </c:pt>
                <c:pt idx="43">
                  <c:v>Harry's</c:v>
                </c:pt>
                <c:pt idx="44">
                  <c:v>Gillette</c:v>
                </c:pt>
                <c:pt idx="45">
                  <c:v>Gillette</c:v>
                </c:pt>
                <c:pt idx="46">
                  <c:v>Dollar Shav</c:v>
                </c:pt>
                <c:pt idx="47">
                  <c:v>Harry's</c:v>
                </c:pt>
                <c:pt idx="48">
                  <c:v>Gillette</c:v>
                </c:pt>
                <c:pt idx="49">
                  <c:v>Dollar Shav</c:v>
                </c:pt>
                <c:pt idx="50">
                  <c:v>Cremo</c:v>
                </c:pt>
                <c:pt idx="51">
                  <c:v>Gillette</c:v>
                </c:pt>
                <c:pt idx="52">
                  <c:v>Gillette</c:v>
                </c:pt>
                <c:pt idx="53">
                  <c:v>Gillette</c:v>
                </c:pt>
                <c:pt idx="54">
                  <c:v>Cremo</c:v>
                </c:pt>
                <c:pt idx="55">
                  <c:v>Harry's</c:v>
                </c:pt>
                <c:pt idx="56">
                  <c:v>Schick</c:v>
                </c:pt>
                <c:pt idx="57">
                  <c:v>Dollar Shav</c:v>
                </c:pt>
                <c:pt idx="58">
                  <c:v>Unilever: A</c:v>
                </c:pt>
                <c:pt idx="59">
                  <c:v>Schick</c:v>
                </c:pt>
                <c:pt idx="60">
                  <c:v>Gillette</c:v>
                </c:pt>
                <c:pt idx="61">
                  <c:v>Gillette</c:v>
                </c:pt>
                <c:pt idx="62">
                  <c:v>Equate</c:v>
                </c:pt>
                <c:pt idx="63">
                  <c:v>Schick</c:v>
                </c:pt>
                <c:pt idx="64">
                  <c:v>Schick</c:v>
                </c:pt>
                <c:pt idx="65">
                  <c:v>Dollar Shav</c:v>
                </c:pt>
                <c:pt idx="66">
                  <c:v>Van Der Hag</c:v>
                </c:pt>
                <c:pt idx="67">
                  <c:v>Van Der Hag</c:v>
                </c:pt>
                <c:pt idx="68">
                  <c:v>Gillette</c:v>
                </c:pt>
                <c:pt idx="69">
                  <c:v>Gillette</c:v>
                </c:pt>
                <c:pt idx="70">
                  <c:v>Schick</c:v>
                </c:pt>
                <c:pt idx="71">
                  <c:v>Gillette</c:v>
                </c:pt>
                <c:pt idx="72">
                  <c:v>Dollar Shav</c:v>
                </c:pt>
                <c:pt idx="73">
                  <c:v>Gillette</c:v>
                </c:pt>
                <c:pt idx="74">
                  <c:v>Gillette</c:v>
                </c:pt>
                <c:pt idx="75">
                  <c:v>Equate</c:v>
                </c:pt>
                <c:pt idx="76">
                  <c:v>Schick</c:v>
                </c:pt>
                <c:pt idx="77">
                  <c:v>All Others</c:v>
                </c:pt>
                <c:pt idx="78">
                  <c:v>Gillette</c:v>
                </c:pt>
                <c:pt idx="79">
                  <c:v>Gillette</c:v>
                </c:pt>
                <c:pt idx="80">
                  <c:v>Schick</c:v>
                </c:pt>
                <c:pt idx="81">
                  <c:v>Schick</c:v>
                </c:pt>
                <c:pt idx="82">
                  <c:v>Harry's</c:v>
                </c:pt>
                <c:pt idx="83">
                  <c:v>Equate</c:v>
                </c:pt>
                <c:pt idx="84">
                  <c:v>Schick</c:v>
                </c:pt>
                <c:pt idx="85">
                  <c:v>Schick</c:v>
                </c:pt>
                <c:pt idx="86">
                  <c:v>Gillette</c:v>
                </c:pt>
                <c:pt idx="87">
                  <c:v>Gillette</c:v>
                </c:pt>
                <c:pt idx="88">
                  <c:v>Gillette</c:v>
                </c:pt>
                <c:pt idx="89">
                  <c:v>Schick</c:v>
                </c:pt>
                <c:pt idx="90">
                  <c:v>Dollar Shav</c:v>
                </c:pt>
                <c:pt idx="91">
                  <c:v>Equate</c:v>
                </c:pt>
                <c:pt idx="92">
                  <c:v>Gillette</c:v>
                </c:pt>
                <c:pt idx="93">
                  <c:v>Gillette</c:v>
                </c:pt>
                <c:pt idx="94">
                  <c:v>Equate</c:v>
                </c:pt>
                <c:pt idx="95">
                  <c:v>Dollar Shav</c:v>
                </c:pt>
                <c:pt idx="96">
                  <c:v>Edgewell Pe</c:v>
                </c:pt>
                <c:pt idx="97">
                  <c:v>Gillette</c:v>
                </c:pt>
                <c:pt idx="98">
                  <c:v>Schick</c:v>
                </c:pt>
                <c:pt idx="99">
                  <c:v>Schick</c:v>
                </c:pt>
                <c:pt idx="100">
                  <c:v>Gillette</c:v>
                </c:pt>
                <c:pt idx="101">
                  <c:v>Schick</c:v>
                </c:pt>
              </c:strCache>
            </c:strRef>
          </c:cat>
          <c:val>
            <c:numRef>
              <c:f>Sheet1!$B$2:$B$103</c:f>
              <c:numCache>
                <c:formatCode>General</c:formatCode>
                <c:ptCount val="102"/>
                <c:pt idx="0">
                  <c:v>0.94</c:v>
                </c:pt>
                <c:pt idx="1">
                  <c:v>0.96</c:v>
                </c:pt>
                <c:pt idx="2">
                  <c:v>0.86</c:v>
                </c:pt>
                <c:pt idx="3">
                  <c:v>0.89</c:v>
                </c:pt>
                <c:pt idx="4">
                  <c:v>0.91</c:v>
                </c:pt>
                <c:pt idx="5">
                  <c:v>0.94</c:v>
                </c:pt>
                <c:pt idx="6">
                  <c:v>0.66</c:v>
                </c:pt>
                <c:pt idx="7">
                  <c:v>0.76</c:v>
                </c:pt>
                <c:pt idx="8">
                  <c:v>0.91</c:v>
                </c:pt>
                <c:pt idx="9">
                  <c:v>0.87</c:v>
                </c:pt>
                <c:pt idx="10">
                  <c:v>0.86</c:v>
                </c:pt>
                <c:pt idx="11">
                  <c:v>0.67</c:v>
                </c:pt>
                <c:pt idx="12">
                  <c:v>0.65</c:v>
                </c:pt>
                <c:pt idx="13">
                  <c:v>0.64</c:v>
                </c:pt>
                <c:pt idx="14">
                  <c:v>0.77</c:v>
                </c:pt>
                <c:pt idx="15">
                  <c:v>0.68</c:v>
                </c:pt>
                <c:pt idx="16">
                  <c:v>0.57999999999999996</c:v>
                </c:pt>
                <c:pt idx="17">
                  <c:v>0.89</c:v>
                </c:pt>
                <c:pt idx="18">
                  <c:v>0.91</c:v>
                </c:pt>
                <c:pt idx="19">
                  <c:v>0.41</c:v>
                </c:pt>
                <c:pt idx="20">
                  <c:v>0.49</c:v>
                </c:pt>
                <c:pt idx="21">
                  <c:v>0.26</c:v>
                </c:pt>
                <c:pt idx="22">
                  <c:v>0.47</c:v>
                </c:pt>
                <c:pt idx="23">
                  <c:v>0.6</c:v>
                </c:pt>
                <c:pt idx="24">
                  <c:v>0.31</c:v>
                </c:pt>
                <c:pt idx="25">
                  <c:v>0.84</c:v>
                </c:pt>
                <c:pt idx="26">
                  <c:v>0.74</c:v>
                </c:pt>
                <c:pt idx="27">
                  <c:v>0.64</c:v>
                </c:pt>
                <c:pt idx="28">
                  <c:v>0.38</c:v>
                </c:pt>
                <c:pt idx="29">
                  <c:v>0.46</c:v>
                </c:pt>
                <c:pt idx="30">
                  <c:v>0.33</c:v>
                </c:pt>
                <c:pt idx="31">
                  <c:v>0.65</c:v>
                </c:pt>
                <c:pt idx="32">
                  <c:v>0.35</c:v>
                </c:pt>
                <c:pt idx="33">
                  <c:v>0.42</c:v>
                </c:pt>
                <c:pt idx="34">
                  <c:v>0.19</c:v>
                </c:pt>
                <c:pt idx="35">
                  <c:v>0.06</c:v>
                </c:pt>
                <c:pt idx="36">
                  <c:v>0.13</c:v>
                </c:pt>
                <c:pt idx="37">
                  <c:v>0.01</c:v>
                </c:pt>
                <c:pt idx="38">
                  <c:v>0.01</c:v>
                </c:pt>
                <c:pt idx="39">
                  <c:v>0.01</c:v>
                </c:pt>
                <c:pt idx="40">
                  <c:v>0.01</c:v>
                </c:pt>
                <c:pt idx="41">
                  <c:v>0.01</c:v>
                </c:pt>
                <c:pt idx="42">
                  <c:v>0.01</c:v>
                </c:pt>
                <c:pt idx="43">
                  <c:v>0.01</c:v>
                </c:pt>
                <c:pt idx="44">
                  <c:v>0.01</c:v>
                </c:pt>
                <c:pt idx="45">
                  <c:v>0.01</c:v>
                </c:pt>
                <c:pt idx="46">
                  <c:v>0.01</c:v>
                </c:pt>
                <c:pt idx="47">
                  <c:v>0.01</c:v>
                </c:pt>
                <c:pt idx="48">
                  <c:v>0.01</c:v>
                </c:pt>
                <c:pt idx="49">
                  <c:v>0.01</c:v>
                </c:pt>
                <c:pt idx="50">
                  <c:v>0.01</c:v>
                </c:pt>
                <c:pt idx="51">
                  <c:v>0.01</c:v>
                </c:pt>
                <c:pt idx="52">
                  <c:v>0.01</c:v>
                </c:pt>
                <c:pt idx="53">
                  <c:v>0.01</c:v>
                </c:pt>
                <c:pt idx="54">
                  <c:v>0.01</c:v>
                </c:pt>
                <c:pt idx="55">
                  <c:v>0.01</c:v>
                </c:pt>
                <c:pt idx="56">
                  <c:v>0.01</c:v>
                </c:pt>
                <c:pt idx="57">
                  <c:v>0.01</c:v>
                </c:pt>
                <c:pt idx="58">
                  <c:v>0.01</c:v>
                </c:pt>
                <c:pt idx="59">
                  <c:v>0.01</c:v>
                </c:pt>
                <c:pt idx="60">
                  <c:v>0.01</c:v>
                </c:pt>
                <c:pt idx="61">
                  <c:v>0.01</c:v>
                </c:pt>
                <c:pt idx="62">
                  <c:v>0.01</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3</c:f>
              <c:strCache>
                <c:ptCount val="102"/>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Schick</c:v>
                </c:pt>
                <c:pt idx="19">
                  <c:v>Gillette</c:v>
                </c:pt>
                <c:pt idx="20">
                  <c:v>Gillette</c:v>
                </c:pt>
                <c:pt idx="21">
                  <c:v>Harry's</c:v>
                </c:pt>
                <c:pt idx="22">
                  <c:v>Gillette</c:v>
                </c:pt>
                <c:pt idx="23">
                  <c:v>Gillette</c:v>
                </c:pt>
                <c:pt idx="24">
                  <c:v>Gillette</c:v>
                </c:pt>
                <c:pt idx="25">
                  <c:v>Gillette</c:v>
                </c:pt>
                <c:pt idx="26">
                  <c:v>Harry's</c:v>
                </c:pt>
                <c:pt idx="27">
                  <c:v>Gillette</c:v>
                </c:pt>
                <c:pt idx="28">
                  <c:v>Gillette</c:v>
                </c:pt>
                <c:pt idx="29">
                  <c:v>Gillette</c:v>
                </c:pt>
                <c:pt idx="30">
                  <c:v>Gillette</c:v>
                </c:pt>
                <c:pt idx="31">
                  <c:v>Dollar Shav</c:v>
                </c:pt>
                <c:pt idx="32">
                  <c:v>Gillette</c:v>
                </c:pt>
                <c:pt idx="33">
                  <c:v>Gillette</c:v>
                </c:pt>
                <c:pt idx="34">
                  <c:v>Gillette</c:v>
                </c:pt>
                <c:pt idx="35">
                  <c:v>Schick</c:v>
                </c:pt>
                <c:pt idx="36">
                  <c:v>Cremo</c:v>
                </c:pt>
                <c:pt idx="37">
                  <c:v>Harry's</c:v>
                </c:pt>
                <c:pt idx="38">
                  <c:v>Harry's</c:v>
                </c:pt>
                <c:pt idx="39">
                  <c:v>All Others</c:v>
                </c:pt>
                <c:pt idx="40">
                  <c:v>Gillette</c:v>
                </c:pt>
                <c:pt idx="41">
                  <c:v>Schick</c:v>
                </c:pt>
                <c:pt idx="42">
                  <c:v>Schick</c:v>
                </c:pt>
                <c:pt idx="43">
                  <c:v>Harry's</c:v>
                </c:pt>
                <c:pt idx="44">
                  <c:v>Gillette</c:v>
                </c:pt>
                <c:pt idx="45">
                  <c:v>Gillette</c:v>
                </c:pt>
                <c:pt idx="46">
                  <c:v>Dollar Shav</c:v>
                </c:pt>
                <c:pt idx="47">
                  <c:v>Harry's</c:v>
                </c:pt>
                <c:pt idx="48">
                  <c:v>Gillette</c:v>
                </c:pt>
                <c:pt idx="49">
                  <c:v>Dollar Shav</c:v>
                </c:pt>
                <c:pt idx="50">
                  <c:v>Cremo</c:v>
                </c:pt>
                <c:pt idx="51">
                  <c:v>Gillette</c:v>
                </c:pt>
                <c:pt idx="52">
                  <c:v>Gillette</c:v>
                </c:pt>
                <c:pt idx="53">
                  <c:v>Gillette</c:v>
                </c:pt>
                <c:pt idx="54">
                  <c:v>Cremo</c:v>
                </c:pt>
                <c:pt idx="55">
                  <c:v>Harry's</c:v>
                </c:pt>
                <c:pt idx="56">
                  <c:v>Schick</c:v>
                </c:pt>
                <c:pt idx="57">
                  <c:v>Dollar Shav</c:v>
                </c:pt>
                <c:pt idx="58">
                  <c:v>Unilever: A</c:v>
                </c:pt>
                <c:pt idx="59">
                  <c:v>Schick</c:v>
                </c:pt>
                <c:pt idx="60">
                  <c:v>Gillette</c:v>
                </c:pt>
                <c:pt idx="61">
                  <c:v>Gillette</c:v>
                </c:pt>
                <c:pt idx="62">
                  <c:v>Equate</c:v>
                </c:pt>
                <c:pt idx="63">
                  <c:v>Schick</c:v>
                </c:pt>
                <c:pt idx="64">
                  <c:v>Schick</c:v>
                </c:pt>
                <c:pt idx="65">
                  <c:v>Dollar Shav</c:v>
                </c:pt>
                <c:pt idx="66">
                  <c:v>Van Der Hag</c:v>
                </c:pt>
                <c:pt idx="67">
                  <c:v>Van Der Hag</c:v>
                </c:pt>
                <c:pt idx="68">
                  <c:v>Gillette</c:v>
                </c:pt>
                <c:pt idx="69">
                  <c:v>Gillette</c:v>
                </c:pt>
                <c:pt idx="70">
                  <c:v>Schick</c:v>
                </c:pt>
                <c:pt idx="71">
                  <c:v>Gillette</c:v>
                </c:pt>
                <c:pt idx="72">
                  <c:v>Dollar Shav</c:v>
                </c:pt>
                <c:pt idx="73">
                  <c:v>Gillette</c:v>
                </c:pt>
                <c:pt idx="74">
                  <c:v>Gillette</c:v>
                </c:pt>
                <c:pt idx="75">
                  <c:v>Equate</c:v>
                </c:pt>
                <c:pt idx="76">
                  <c:v>Schick</c:v>
                </c:pt>
                <c:pt idx="77">
                  <c:v>All Others</c:v>
                </c:pt>
                <c:pt idx="78">
                  <c:v>Gillette</c:v>
                </c:pt>
                <c:pt idx="79">
                  <c:v>Gillette</c:v>
                </c:pt>
                <c:pt idx="80">
                  <c:v>Schick</c:v>
                </c:pt>
                <c:pt idx="81">
                  <c:v>Schick</c:v>
                </c:pt>
                <c:pt idx="82">
                  <c:v>Harry's</c:v>
                </c:pt>
                <c:pt idx="83">
                  <c:v>Equate</c:v>
                </c:pt>
                <c:pt idx="84">
                  <c:v>Schick</c:v>
                </c:pt>
                <c:pt idx="85">
                  <c:v>Schick</c:v>
                </c:pt>
                <c:pt idx="86">
                  <c:v>Gillette</c:v>
                </c:pt>
                <c:pt idx="87">
                  <c:v>Gillette</c:v>
                </c:pt>
                <c:pt idx="88">
                  <c:v>Gillette</c:v>
                </c:pt>
                <c:pt idx="89">
                  <c:v>Schick</c:v>
                </c:pt>
                <c:pt idx="90">
                  <c:v>Dollar Shav</c:v>
                </c:pt>
                <c:pt idx="91">
                  <c:v>Equate</c:v>
                </c:pt>
                <c:pt idx="92">
                  <c:v>Gillette</c:v>
                </c:pt>
                <c:pt idx="93">
                  <c:v>Gillette</c:v>
                </c:pt>
                <c:pt idx="94">
                  <c:v>Equate</c:v>
                </c:pt>
                <c:pt idx="95">
                  <c:v>Dollar Shav</c:v>
                </c:pt>
                <c:pt idx="96">
                  <c:v>Edgewell Pe</c:v>
                </c:pt>
                <c:pt idx="97">
                  <c:v>Gillette</c:v>
                </c:pt>
                <c:pt idx="98">
                  <c:v>Schick</c:v>
                </c:pt>
                <c:pt idx="99">
                  <c:v>Schick</c:v>
                </c:pt>
                <c:pt idx="100">
                  <c:v>Gillette</c:v>
                </c:pt>
                <c:pt idx="101">
                  <c:v>Schick</c:v>
                </c:pt>
              </c:strCache>
            </c:strRef>
          </c:cat>
          <c:val>
            <c:numRef>
              <c:f>Sheet1!$C$2:$C$103</c:f>
              <c:numCache>
                <c:formatCode>General</c:formatCode>
                <c:ptCount val="102"/>
                <c:pt idx="0">
                  <c:v>0.11943392370361504</c:v>
                </c:pt>
                <c:pt idx="1">
                  <c:v>0.21490457262394724</c:v>
                </c:pt>
                <c:pt idx="2">
                  <c:v>0.29180388945342195</c:v>
                </c:pt>
                <c:pt idx="3">
                  <c:v>0.36325092738620257</c:v>
                </c:pt>
                <c:pt idx="4">
                  <c:v>0.42650736911842091</c:v>
                </c:pt>
                <c:pt idx="5">
                  <c:v>0.48400921592247331</c:v>
                </c:pt>
                <c:pt idx="6">
                  <c:v>0.53269573946509485</c:v>
                </c:pt>
                <c:pt idx="7">
                  <c:v>0.57771861304201411</c:v>
                </c:pt>
                <c:pt idx="8">
                  <c:v>0.61876684556404138</c:v>
                </c:pt>
                <c:pt idx="9">
                  <c:v>0.65563747960055552</c:v>
                </c:pt>
                <c:pt idx="10">
                  <c:v>0.69211700885075056</c:v>
                </c:pt>
                <c:pt idx="11">
                  <c:v>0.72584566398389894</c:v>
                </c:pt>
                <c:pt idx="12">
                  <c:v>0.75757460052895509</c:v>
                </c:pt>
                <c:pt idx="13">
                  <c:v>0.78416704256876413</c:v>
                </c:pt>
                <c:pt idx="14">
                  <c:v>0.80512006208186748</c:v>
                </c:pt>
                <c:pt idx="15">
                  <c:v>0.8253037463405748</c:v>
                </c:pt>
                <c:pt idx="16">
                  <c:v>0.84442001954233414</c:v>
                </c:pt>
                <c:pt idx="17">
                  <c:v>0.8626644545645028</c:v>
                </c:pt>
                <c:pt idx="18">
                  <c:v>0.87657400318926648</c:v>
                </c:pt>
                <c:pt idx="19">
                  <c:v>0.89038909917852405</c:v>
                </c:pt>
                <c:pt idx="20">
                  <c:v>0.90316148805323671</c:v>
                </c:pt>
                <c:pt idx="21">
                  <c:v>0.91420956837767531</c:v>
                </c:pt>
                <c:pt idx="22">
                  <c:v>0.92470482117510489</c:v>
                </c:pt>
                <c:pt idx="23">
                  <c:v>0.93471394299317412</c:v>
                </c:pt>
                <c:pt idx="24">
                  <c:v>0.94467433290496072</c:v>
                </c:pt>
                <c:pt idx="25">
                  <c:v>0.95392557013513746</c:v>
                </c:pt>
                <c:pt idx="26">
                  <c:v>0.96293991786123478</c:v>
                </c:pt>
                <c:pt idx="27">
                  <c:v>0.96938359095728344</c:v>
                </c:pt>
                <c:pt idx="28">
                  <c:v>0.97521598486824101</c:v>
                </c:pt>
                <c:pt idx="29">
                  <c:v>0.98086972584912557</c:v>
                </c:pt>
                <c:pt idx="30">
                  <c:v>0.9849940961469652</c:v>
                </c:pt>
                <c:pt idx="31">
                  <c:v>0.98893208073010741</c:v>
                </c:pt>
                <c:pt idx="32">
                  <c:v>0.99225997421162393</c:v>
                </c:pt>
                <c:pt idx="33">
                  <c:v>0.99539863467496537</c:v>
                </c:pt>
                <c:pt idx="34">
                  <c:v>0.99773095518080046</c:v>
                </c:pt>
                <c:pt idx="35">
                  <c:v>0.99890772112706727</c:v>
                </c:pt>
                <c:pt idx="36">
                  <c:v>0.99979725765345417</c:v>
                </c:pt>
                <c:pt idx="37">
                  <c:v>0.9998355426189196</c:v>
                </c:pt>
                <c:pt idx="38">
                  <c:v>0.99987205570128557</c:v>
                </c:pt>
                <c:pt idx="39">
                  <c:v>0.99988952872190728</c:v>
                </c:pt>
                <c:pt idx="40">
                  <c:v>0.99990461533349917</c:v>
                </c:pt>
                <c:pt idx="41">
                  <c:v>0.99991909766125953</c:v>
                </c:pt>
                <c:pt idx="42">
                  <c:v>0.99992973920195471</c:v>
                </c:pt>
                <c:pt idx="43">
                  <c:v>0.99993827087028875</c:v>
                </c:pt>
                <c:pt idx="44">
                  <c:v>0.99994598317071559</c:v>
                </c:pt>
                <c:pt idx="45">
                  <c:v>0.99995325506089228</c:v>
                </c:pt>
                <c:pt idx="46">
                  <c:v>0.9999600558145223</c:v>
                </c:pt>
                <c:pt idx="47">
                  <c:v>0.99996544315851232</c:v>
                </c:pt>
                <c:pt idx="48">
                  <c:v>0.99996875135643781</c:v>
                </c:pt>
                <c:pt idx="49">
                  <c:v>0.99997164987040965</c:v>
                </c:pt>
                <c:pt idx="50">
                  <c:v>0.9999742103951198</c:v>
                </c:pt>
                <c:pt idx="51">
                  <c:v>0.99997639196217281</c:v>
                </c:pt>
                <c:pt idx="52">
                  <c:v>0.99997841989774316</c:v>
                </c:pt>
                <c:pt idx="53">
                  <c:v>0.99998037613862167</c:v>
                </c:pt>
                <c:pt idx="54">
                  <c:v>0.9999821685059187</c:v>
                </c:pt>
                <c:pt idx="55">
                  <c:v>0.99998375603123901</c:v>
                </c:pt>
                <c:pt idx="56">
                  <c:v>0.99998529234606504</c:v>
                </c:pt>
                <c:pt idx="57">
                  <c:v>0.99998667502940852</c:v>
                </c:pt>
                <c:pt idx="58">
                  <c:v>0.99998789383917053</c:v>
                </c:pt>
                <c:pt idx="59">
                  <c:v>0.99998909216473486</c:v>
                </c:pt>
                <c:pt idx="60">
                  <c:v>0.99998996274313634</c:v>
                </c:pt>
                <c:pt idx="61">
                  <c:v>0.99999081283734004</c:v>
                </c:pt>
                <c:pt idx="62">
                  <c:v>0.99999159123685188</c:v>
                </c:pt>
                <c:pt idx="63">
                  <c:v>0.9999923593942649</c:v>
                </c:pt>
                <c:pt idx="64">
                  <c:v>0.9999930968253814</c:v>
                </c:pt>
                <c:pt idx="65">
                  <c:v>0.99999376256180605</c:v>
                </c:pt>
                <c:pt idx="66">
                  <c:v>0.9999943156351434</c:v>
                </c:pt>
                <c:pt idx="67">
                  <c:v>0.99999478677169007</c:v>
                </c:pt>
                <c:pt idx="68">
                  <c:v>0.99999520669774256</c:v>
                </c:pt>
                <c:pt idx="69">
                  <c:v>0.99999560613959737</c:v>
                </c:pt>
                <c:pt idx="70">
                  <c:v>0.99999597485515568</c:v>
                </c:pt>
                <c:pt idx="71">
                  <c:v>0.99999634357071399</c:v>
                </c:pt>
                <c:pt idx="72">
                  <c:v>0.99999670204417335</c:v>
                </c:pt>
                <c:pt idx="73">
                  <c:v>0.99999700930713853</c:v>
                </c:pt>
                <c:pt idx="74">
                  <c:v>0.9999972551175107</c:v>
                </c:pt>
                <c:pt idx="75">
                  <c:v>0.99999748044368519</c:v>
                </c:pt>
                <c:pt idx="76">
                  <c:v>0.99999765455936551</c:v>
                </c:pt>
                <c:pt idx="77">
                  <c:v>0.99999782867504583</c:v>
                </c:pt>
                <c:pt idx="78">
                  <c:v>0.99999798230652848</c:v>
                </c:pt>
                <c:pt idx="79">
                  <c:v>0.99999813593801112</c:v>
                </c:pt>
                <c:pt idx="80">
                  <c:v>0.99999828956949377</c:v>
                </c:pt>
                <c:pt idx="81">
                  <c:v>0.99999844320097642</c:v>
                </c:pt>
                <c:pt idx="82">
                  <c:v>0.99999859683245906</c:v>
                </c:pt>
                <c:pt idx="83">
                  <c:v>0.99999874022184287</c:v>
                </c:pt>
                <c:pt idx="84">
                  <c:v>0.99999888361122669</c:v>
                </c:pt>
                <c:pt idx="85">
                  <c:v>0.9999990270006105</c:v>
                </c:pt>
                <c:pt idx="86">
                  <c:v>0.99999916014789547</c:v>
                </c:pt>
                <c:pt idx="87">
                  <c:v>0.99999926256888383</c:v>
                </c:pt>
                <c:pt idx="88">
                  <c:v>0.99999935474777335</c:v>
                </c:pt>
                <c:pt idx="89">
                  <c:v>0.99999944692666287</c:v>
                </c:pt>
                <c:pt idx="90">
                  <c:v>0.99999951862135472</c:v>
                </c:pt>
                <c:pt idx="91">
                  <c:v>0.99999959031604657</c:v>
                </c:pt>
                <c:pt idx="92">
                  <c:v>0.99999966201073842</c:v>
                </c:pt>
                <c:pt idx="93">
                  <c:v>0.99999973370543027</c:v>
                </c:pt>
                <c:pt idx="94">
                  <c:v>0.99999979515802329</c:v>
                </c:pt>
                <c:pt idx="95">
                  <c:v>0.99999983612641863</c:v>
                </c:pt>
                <c:pt idx="96">
                  <c:v>0.99999987709481397</c:v>
                </c:pt>
                <c:pt idx="97">
                  <c:v>0.99999990782111048</c:v>
                </c:pt>
                <c:pt idx="98">
                  <c:v>0.99999993854740699</c:v>
                </c:pt>
                <c:pt idx="99">
                  <c:v>0.99999996927370349</c:v>
                </c:pt>
                <c:pt idx="100">
                  <c:v>0.99999998975790116</c:v>
                </c:pt>
                <c:pt idx="10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0</c:f>
              <c:strCache>
                <c:ptCount val="29"/>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pt idx="11">
                  <c:v>EQUATE CALIBER 5 5 BLADE REFILL NORMAL 4CT</c:v>
                </c:pt>
                <c:pt idx="12">
                  <c:v>EQUATE CALIBER 5 5 BLADE REFILL NORMAL 8CT</c:v>
                </c:pt>
                <c:pt idx="13">
                  <c:v>EQUATE CALIBER 5 BLACK 5 BLADE RAZOR NORMAL 2CT</c:v>
                </c:pt>
                <c:pt idx="14">
                  <c:v>EQUATE TB (TWIN BLADE) 2 BLADE DISPOSABLE NORMAL 12CT</c:v>
                </c:pt>
                <c:pt idx="15">
                  <c:v>EQUATE EASY FIT 3 3 BLADE REFILL NORMAL 15CT</c:v>
                </c:pt>
                <c:pt idx="16">
                  <c:v>EQUATE CALIBER 4 MAX 4 BLADE DISPOSABLE NORMAL 3CT</c:v>
                </c:pt>
                <c:pt idx="17">
                  <c:v>EQUATE EASY FIT 3 3 BLADE REFILL NORMAL 5CT</c:v>
                </c:pt>
                <c:pt idx="18">
                  <c:v>EQUATE CALIBER 3 3 BLADE DISPOSABLE SENSITIVE 3CT</c:v>
                </c:pt>
                <c:pt idx="19">
                  <c:v>EQUATE CALIBER 3 3 BLADE RAZOR SENSITIVE 20CT</c:v>
                </c:pt>
                <c:pt idx="20">
                  <c:v>EQUATE CALIBER 5 5 BLADE REFILL NORMAL 12CT</c:v>
                </c:pt>
                <c:pt idx="21">
                  <c:v>EQUATE EASY FIT 3 3 BLADE RAZOR NORMAL 2CT</c:v>
                </c:pt>
                <c:pt idx="22">
                  <c:v>EQUATE TB (TWIN BLADE) 2 BLADE DISPOSABLE NORMAL 5CT</c:v>
                </c:pt>
                <c:pt idx="23">
                  <c:v>EQUATE CALIBER 5 5 BLADE RAZOR NORMAL 2CT</c:v>
                </c:pt>
                <c:pt idx="24">
                  <c:v>EQUATE 2 BLADE DISPOSABLE NORMAL 3CT</c:v>
                </c:pt>
                <c:pt idx="25">
                  <c:v>PERSONNA TB (TWIN BLADE) BLUE 2 BLADE DISPOSABLE NORMAL 10CT</c:v>
                </c:pt>
                <c:pt idx="26">
                  <c:v>EQUATE CALIBER 5 5 BLADE RAZOR NORMAL 1CT</c:v>
                </c:pt>
                <c:pt idx="27">
                  <c:v>PERSONA M5 MAGNUM 5 BLADE REFILL NORMAL 4CT</c:v>
                </c:pt>
                <c:pt idx="28">
                  <c:v>EQUATE EASY FIT 3 3 BLADE REFILL NORMAL 10CT</c:v>
                </c:pt>
              </c:strCache>
            </c:strRef>
          </c:cat>
          <c:val>
            <c:numRef>
              <c:f>Sheet1!$B$2:$B$30</c:f>
              <c:numCache>
                <c:formatCode>General</c:formatCode>
                <c:ptCount val="29"/>
                <c:pt idx="0">
                  <c:v>0.98499999999999999</c:v>
                </c:pt>
                <c:pt idx="1">
                  <c:v>0.84499999999999997</c:v>
                </c:pt>
                <c:pt idx="2">
                  <c:v>0.98799999999999999</c:v>
                </c:pt>
                <c:pt idx="3">
                  <c:v>0.91100000000000003</c:v>
                </c:pt>
                <c:pt idx="4">
                  <c:v>0.95899999999999996</c:v>
                </c:pt>
                <c:pt idx="5">
                  <c:v>0.93799999999999994</c:v>
                </c:pt>
                <c:pt idx="6">
                  <c:v>0.751</c:v>
                </c:pt>
                <c:pt idx="7">
                  <c:v>0.58399999999999996</c:v>
                </c:pt>
                <c:pt idx="8">
                  <c:v>0.97799999999999998</c:v>
                </c:pt>
                <c:pt idx="9">
                  <c:v>0.68899999999999995</c:v>
                </c:pt>
                <c:pt idx="10">
                  <c:v>1.2E-2</c:v>
                </c:pt>
                <c:pt idx="11">
                  <c:v>0.01</c:v>
                </c:pt>
                <c:pt idx="12">
                  <c:v>0.01</c:v>
                </c:pt>
                <c:pt idx="13">
                  <c:v>0.01</c:v>
                </c:pt>
                <c:pt idx="14">
                  <c:v>0.01</c:v>
                </c:pt>
                <c:pt idx="15">
                  <c:v>8.9999999999999993E-3</c:v>
                </c:pt>
                <c:pt idx="16">
                  <c:v>8.9999999999999993E-3</c:v>
                </c:pt>
                <c:pt idx="17">
                  <c:v>8.9999999999999993E-3</c:v>
                </c:pt>
                <c:pt idx="18">
                  <c:v>8.9999999999999993E-3</c:v>
                </c:pt>
                <c:pt idx="19">
                  <c:v>8.9999999999999993E-3</c:v>
                </c:pt>
                <c:pt idx="20">
                  <c:v>1E-3</c:v>
                </c:pt>
                <c:pt idx="21">
                  <c:v>8.9999999999999993E-3</c:v>
                </c:pt>
                <c:pt idx="22">
                  <c:v>8.9999999999999993E-3</c:v>
                </c:pt>
                <c:pt idx="23">
                  <c:v>8.9999999999999993E-3</c:v>
                </c:pt>
                <c:pt idx="24">
                  <c:v>8.9999999999999993E-3</c:v>
                </c:pt>
                <c:pt idx="25">
                  <c:v>8.9999999999999993E-3</c:v>
                </c:pt>
                <c:pt idx="26">
                  <c:v>8.9999999999999993E-3</c:v>
                </c:pt>
                <c:pt idx="27">
                  <c:v>8.9999999999999993E-3</c:v>
                </c:pt>
                <c:pt idx="28">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0</c:f>
              <c:strCache>
                <c:ptCount val="29"/>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pt idx="11">
                  <c:v>EQUATE CALIBER 5 5 BLADE REFILL NORMAL 4CT</c:v>
                </c:pt>
                <c:pt idx="12">
                  <c:v>EQUATE CALIBER 5 5 BLADE REFILL NORMAL 8CT</c:v>
                </c:pt>
                <c:pt idx="13">
                  <c:v>EQUATE CALIBER 5 BLACK 5 BLADE RAZOR NORMAL 2CT</c:v>
                </c:pt>
                <c:pt idx="14">
                  <c:v>EQUATE TB (TWIN BLADE) 2 BLADE DISPOSABLE NORMAL 12CT</c:v>
                </c:pt>
                <c:pt idx="15">
                  <c:v>EQUATE EASY FIT 3 3 BLADE REFILL NORMAL 15CT</c:v>
                </c:pt>
                <c:pt idx="16">
                  <c:v>EQUATE CALIBER 4 MAX 4 BLADE DISPOSABLE NORMAL 3CT</c:v>
                </c:pt>
                <c:pt idx="17">
                  <c:v>EQUATE EASY FIT 3 3 BLADE REFILL NORMAL 5CT</c:v>
                </c:pt>
                <c:pt idx="18">
                  <c:v>EQUATE CALIBER 3 3 BLADE DISPOSABLE SENSITIVE 3CT</c:v>
                </c:pt>
                <c:pt idx="19">
                  <c:v>EQUATE CALIBER 3 3 BLADE RAZOR SENSITIVE 20CT</c:v>
                </c:pt>
                <c:pt idx="20">
                  <c:v>EQUATE CALIBER 5 5 BLADE REFILL NORMAL 12CT</c:v>
                </c:pt>
                <c:pt idx="21">
                  <c:v>EQUATE EASY FIT 3 3 BLADE RAZOR NORMAL 2CT</c:v>
                </c:pt>
                <c:pt idx="22">
                  <c:v>EQUATE TB (TWIN BLADE) 2 BLADE DISPOSABLE NORMAL 5CT</c:v>
                </c:pt>
                <c:pt idx="23">
                  <c:v>EQUATE CALIBER 5 5 BLADE RAZOR NORMAL 2CT</c:v>
                </c:pt>
                <c:pt idx="24">
                  <c:v>EQUATE 2 BLADE DISPOSABLE NORMAL 3CT</c:v>
                </c:pt>
                <c:pt idx="25">
                  <c:v>PERSONNA TB (TWIN BLADE) BLUE 2 BLADE DISPOSABLE NORMAL 10CT</c:v>
                </c:pt>
                <c:pt idx="26">
                  <c:v>EQUATE CALIBER 5 5 BLADE RAZOR NORMAL 1CT</c:v>
                </c:pt>
                <c:pt idx="27">
                  <c:v>PERSONA M5 MAGNUM 5 BLADE REFILL NORMAL 4CT</c:v>
                </c:pt>
                <c:pt idx="28">
                  <c:v>EQUATE EASY FIT 3 3 BLADE REFILL NORMAL 10CT</c:v>
                </c:pt>
              </c:strCache>
            </c:strRef>
          </c:cat>
          <c:val>
            <c:numRef>
              <c:f>Sheet1!$C$2:$C$30</c:f>
              <c:numCache>
                <c:formatCode>General</c:formatCode>
                <c:ptCount val="29"/>
                <c:pt idx="0">
                  <c:v>0.25215022718965796</c:v>
                </c:pt>
                <c:pt idx="1">
                  <c:v>0.38414932130620655</c:v>
                </c:pt>
                <c:pt idx="2">
                  <c:v>0.4951100184273704</c:v>
                </c:pt>
                <c:pt idx="3">
                  <c:v>0.59930482289595366</c:v>
                </c:pt>
                <c:pt idx="4">
                  <c:v>0.70205538225248021</c:v>
                </c:pt>
                <c:pt idx="5">
                  <c:v>0.79580881687570648</c:v>
                </c:pt>
                <c:pt idx="6">
                  <c:v>0.86421088243056576</c:v>
                </c:pt>
                <c:pt idx="7">
                  <c:v>0.92904686016629912</c:v>
                </c:pt>
                <c:pt idx="8">
                  <c:v>0.97954738497312688</c:v>
                </c:pt>
                <c:pt idx="9">
                  <c:v>0.99986044716197975</c:v>
                </c:pt>
                <c:pt idx="10">
                  <c:v>0.99995609444154787</c:v>
                </c:pt>
                <c:pt idx="11">
                  <c:v>0.99997853698094052</c:v>
                </c:pt>
                <c:pt idx="12">
                  <c:v>0.99998867789732848</c:v>
                </c:pt>
                <c:pt idx="13">
                  <c:v>0.99999118431700396</c:v>
                </c:pt>
                <c:pt idx="14">
                  <c:v>0.99999360430841466</c:v>
                </c:pt>
                <c:pt idx="15">
                  <c:v>0.99999467025701227</c:v>
                </c:pt>
                <c:pt idx="16">
                  <c:v>0.99999547692081581</c:v>
                </c:pt>
                <c:pt idx="17">
                  <c:v>0.99999625477519782</c:v>
                </c:pt>
                <c:pt idx="18">
                  <c:v>0.99999703262957984</c:v>
                </c:pt>
                <c:pt idx="19">
                  <c:v>0.99999766643685406</c:v>
                </c:pt>
                <c:pt idx="20">
                  <c:v>0.99999809857817745</c:v>
                </c:pt>
                <c:pt idx="21">
                  <c:v>0.99999850191007922</c:v>
                </c:pt>
                <c:pt idx="22">
                  <c:v>0.99999887643255947</c:v>
                </c:pt>
                <c:pt idx="23">
                  <c:v>0.99999916452677506</c:v>
                </c:pt>
                <c:pt idx="24">
                  <c:v>0.999999366192726</c:v>
                </c:pt>
                <c:pt idx="25">
                  <c:v>0.99999956785867694</c:v>
                </c:pt>
                <c:pt idx="26">
                  <c:v>0.99999976952462788</c:v>
                </c:pt>
                <c:pt idx="27">
                  <c:v>0.99999991357173568</c:v>
                </c:pt>
                <c:pt idx="28">
                  <c:v>1.00000000000000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0</c:f>
              <c:strCache>
                <c:ptCount val="29"/>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pt idx="11">
                  <c:v>EQUATE CALIBER 5 5 BLADE REFILL NORMAL 4CT</c:v>
                </c:pt>
                <c:pt idx="12">
                  <c:v>EQUATE CALIBER 5 5 BLADE REFILL NORMAL 8CT</c:v>
                </c:pt>
                <c:pt idx="13">
                  <c:v>EQUATE CALIBER 5 BLACK 5 BLADE RAZOR NORMAL 2CT</c:v>
                </c:pt>
                <c:pt idx="14">
                  <c:v>EQUATE TB (TWIN BLADE) 2 BLADE DISPOSABLE NORMAL 12CT</c:v>
                </c:pt>
                <c:pt idx="15">
                  <c:v>EQUATE EASY FIT 3 3 BLADE REFILL NORMAL 15CT</c:v>
                </c:pt>
                <c:pt idx="16">
                  <c:v>EQUATE CALIBER 4 MAX 4 BLADE DISPOSABLE NORMAL 3CT</c:v>
                </c:pt>
                <c:pt idx="17">
                  <c:v>EQUATE EASY FIT 3 3 BLADE REFILL NORMAL 5CT</c:v>
                </c:pt>
                <c:pt idx="18">
                  <c:v>EQUATE CALIBER 3 3 BLADE DISPOSABLE SENSITIVE 3CT</c:v>
                </c:pt>
                <c:pt idx="19">
                  <c:v>EQUATE CALIBER 3 3 BLADE RAZOR SENSITIVE 20CT</c:v>
                </c:pt>
                <c:pt idx="20">
                  <c:v>EQUATE CALIBER 5 5 BLADE REFILL NORMAL 12CT</c:v>
                </c:pt>
                <c:pt idx="21">
                  <c:v>EQUATE EASY FIT 3 3 BLADE RAZOR NORMAL 2CT</c:v>
                </c:pt>
                <c:pt idx="22">
                  <c:v>EQUATE TB (TWIN BLADE) 2 BLADE DISPOSABLE NORMAL 5CT</c:v>
                </c:pt>
                <c:pt idx="23">
                  <c:v>EQUATE CALIBER 5 5 BLADE RAZOR NORMAL 2CT</c:v>
                </c:pt>
                <c:pt idx="24">
                  <c:v>EQUATE 2 BLADE DISPOSABLE NORMAL 3CT</c:v>
                </c:pt>
                <c:pt idx="25">
                  <c:v>PERSONNA TB (TWIN BLADE) BLUE 2 BLADE DISPOSABLE NORMAL 10CT</c:v>
                </c:pt>
                <c:pt idx="26">
                  <c:v>EQUATE CALIBER 5 5 BLADE RAZOR NORMAL 1CT</c:v>
                </c:pt>
                <c:pt idx="27">
                  <c:v>PERSONA M5 MAGNUM 5 BLADE REFILL NORMAL 4CT</c:v>
                </c:pt>
                <c:pt idx="28">
                  <c:v>EQUATE EASY FIT 3 3 BLADE REFILL NORMAL 10CT</c:v>
                </c:pt>
              </c:strCache>
            </c:strRef>
          </c:cat>
          <c:val>
            <c:numRef>
              <c:f>Sheet1!$D$2:$D$30</c:f>
              <c:numCache>
                <c:formatCode>General</c:formatCode>
                <c:ptCount val="29"/>
                <c:pt idx="0">
                  <c:v>88856.375634517768</c:v>
                </c:pt>
                <c:pt idx="1">
                  <c:v>54222.520710059172</c:v>
                </c:pt>
                <c:pt idx="2">
                  <c:v>38983.218623481785</c:v>
                </c:pt>
                <c:pt idx="3">
                  <c:v>39700.241492864981</c:v>
                </c:pt>
                <c:pt idx="4">
                  <c:v>37190.417101147032</c:v>
                </c:pt>
                <c:pt idx="5">
                  <c:v>34693.635394456294</c:v>
                </c:pt>
                <c:pt idx="6">
                  <c:v>31615.113182423436</c:v>
                </c:pt>
                <c:pt idx="7">
                  <c:v>38536.181506849316</c:v>
                </c:pt>
                <c:pt idx="8">
                  <c:v>17923.486707566462</c:v>
                </c:pt>
                <c:pt idx="9">
                  <c:v>10233.439767779391</c:v>
                </c:pt>
                <c:pt idx="10">
                  <c:v>2766.666666666667</c:v>
                </c:pt>
                <c:pt idx="11">
                  <c:v>779</c:v>
                </c:pt>
                <c:pt idx="12">
                  <c:v>352</c:v>
                </c:pt>
                <c:pt idx="13">
                  <c:v>87</c:v>
                </c:pt>
                <c:pt idx="14">
                  <c:v>84</c:v>
                </c:pt>
                <c:pt idx="15">
                  <c:v>41.111111111111114</c:v>
                </c:pt>
                <c:pt idx="16">
                  <c:v>31.111111111111114</c:v>
                </c:pt>
                <c:pt idx="17">
                  <c:v>30.000000000000004</c:v>
                </c:pt>
                <c:pt idx="18">
                  <c:v>30.000000000000004</c:v>
                </c:pt>
                <c:pt idx="19">
                  <c:v>24.444444444444446</c:v>
                </c:pt>
                <c:pt idx="20">
                  <c:v>150</c:v>
                </c:pt>
                <c:pt idx="21">
                  <c:v>15.555555555555557</c:v>
                </c:pt>
                <c:pt idx="22">
                  <c:v>14.444444444444446</c:v>
                </c:pt>
                <c:pt idx="23">
                  <c:v>11.111111111111112</c:v>
                </c:pt>
                <c:pt idx="24">
                  <c:v>7.7777777777777786</c:v>
                </c:pt>
                <c:pt idx="25">
                  <c:v>7.7777777777777786</c:v>
                </c:pt>
                <c:pt idx="26">
                  <c:v>7.7777777777777786</c:v>
                </c:pt>
                <c:pt idx="27">
                  <c:v>5.5555555555555562</c:v>
                </c:pt>
                <c:pt idx="28">
                  <c:v>3.3333333333333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PBG PL 2 BLADE DISPOSABLE NORMAL 52CT</c:v>
                </c:pt>
                <c:pt idx="1">
                  <c:v>EQUATE CALIBER 3 3 BLADE RAZOR NORMAL 13CT</c:v>
                </c:pt>
              </c:strCache>
            </c:strRef>
          </c:cat>
          <c:val>
            <c:numRef>
              <c:f>Sheet1!$B$2:$B$3</c:f>
              <c:numCache>
                <c:formatCode>General</c:formatCode>
                <c:ptCount val="2"/>
                <c:pt idx="0">
                  <c:v>0.57999999999999996</c:v>
                </c:pt>
                <c:pt idx="1">
                  <c:v>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PBG PL 2 BLADE DISPOSABLE NORMAL 52CT</c:v>
                </c:pt>
                <c:pt idx="1">
                  <c:v>EQUATE CALIBER 3 3 BLADE RAZOR NORMAL 13CT</c:v>
                </c:pt>
              </c:strCache>
            </c:strRef>
          </c:cat>
          <c:val>
            <c:numRef>
              <c:f>Sheet1!$C$2:$C$3</c:f>
              <c:numCache>
                <c:formatCode>General</c:formatCode>
                <c:ptCount val="2"/>
                <c:pt idx="0">
                  <c:v>0.67240337236342029</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PBG PL 2 BLADE DISPOSABLE NORMAL 52CT</c:v>
                </c:pt>
                <c:pt idx="1">
                  <c:v>EQUATE CALIBER 3 3 BLADE RAZOR NORMAL 13CT</c:v>
                </c:pt>
              </c:strCache>
            </c:strRef>
          </c:cat>
          <c:val>
            <c:numRef>
              <c:f>Sheet1!$D$2:$D$3</c:f>
              <c:numCache>
                <c:formatCode>General</c:formatCode>
                <c:ptCount val="2"/>
                <c:pt idx="0">
                  <c:v>1131.6896551724139</c:v>
                </c:pt>
                <c:pt idx="1">
                  <c:v>532.98333333333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pt idx="11">
                  <c:v>EQUATE CALIBER 5 5 BLADE REFILL NORMAL 8CT</c:v>
                </c:pt>
                <c:pt idx="12">
                  <c:v>EQUATE CALIBER 5 5 BLADE REFILL NORMAL 4CT</c:v>
                </c:pt>
                <c:pt idx="13">
                  <c:v>EQUATE TB (TWIN BLADE) 2 BLADE DISPOSABLE NORMAL 12CT</c:v>
                </c:pt>
                <c:pt idx="14">
                  <c:v>EQUATE CALIBER 5 BLACK 5 BLADE RAZOR NORMAL 2CT</c:v>
                </c:pt>
                <c:pt idx="15">
                  <c:v>EQUATE CALIBER 5 5 BLADE RAZOR NORMAL 2CT</c:v>
                </c:pt>
                <c:pt idx="16">
                  <c:v>EQUATE CALIBER 4 MAX 4 BLADE DISPOSABLE NORMAL 3CT</c:v>
                </c:pt>
              </c:strCache>
            </c:strRef>
          </c:cat>
          <c:val>
            <c:numRef>
              <c:f>Sheet1!$B$2:$B$18</c:f>
              <c:numCache>
                <c:formatCode>General</c:formatCode>
                <c:ptCount val="17"/>
                <c:pt idx="0">
                  <c:v>0.91</c:v>
                </c:pt>
                <c:pt idx="1">
                  <c:v>0.65</c:v>
                </c:pt>
                <c:pt idx="2">
                  <c:v>0.95</c:v>
                </c:pt>
                <c:pt idx="3">
                  <c:v>0.82</c:v>
                </c:pt>
                <c:pt idx="4">
                  <c:v>0.65</c:v>
                </c:pt>
                <c:pt idx="5">
                  <c:v>0.74</c:v>
                </c:pt>
                <c:pt idx="6">
                  <c:v>0.53</c:v>
                </c:pt>
                <c:pt idx="7">
                  <c:v>0.95</c:v>
                </c:pt>
                <c:pt idx="8">
                  <c:v>0.4</c:v>
                </c:pt>
                <c:pt idx="9">
                  <c:v>0.41</c:v>
                </c:pt>
                <c:pt idx="10">
                  <c:v>0.06</c:v>
                </c:pt>
                <c:pt idx="11">
                  <c:v>0.01</c:v>
                </c:pt>
                <c:pt idx="12">
                  <c:v>0.01</c:v>
                </c:pt>
                <c:pt idx="13">
                  <c:v>0.01</c:v>
                </c:pt>
                <c:pt idx="14">
                  <c:v>0.01</c:v>
                </c:pt>
                <c:pt idx="15">
                  <c:v>0.01</c:v>
                </c:pt>
                <c:pt idx="16">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pt idx="11">
                  <c:v>EQUATE CALIBER 5 5 BLADE REFILL NORMAL 8CT</c:v>
                </c:pt>
                <c:pt idx="12">
                  <c:v>EQUATE CALIBER 5 5 BLADE REFILL NORMAL 4CT</c:v>
                </c:pt>
                <c:pt idx="13">
                  <c:v>EQUATE TB (TWIN BLADE) 2 BLADE DISPOSABLE NORMAL 12CT</c:v>
                </c:pt>
                <c:pt idx="14">
                  <c:v>EQUATE CALIBER 5 BLACK 5 BLADE RAZOR NORMAL 2CT</c:v>
                </c:pt>
                <c:pt idx="15">
                  <c:v>EQUATE CALIBER 5 5 BLADE RAZOR NORMAL 2CT</c:v>
                </c:pt>
                <c:pt idx="16">
                  <c:v>EQUATE CALIBER 4 MAX 4 BLADE DISPOSABLE NORMAL 3CT</c:v>
                </c:pt>
              </c:strCache>
            </c:strRef>
          </c:cat>
          <c:val>
            <c:numRef>
              <c:f>Sheet1!$C$2:$C$18</c:f>
              <c:numCache>
                <c:formatCode>General</c:formatCode>
                <c:ptCount val="17"/>
                <c:pt idx="0">
                  <c:v>0.2257091772971006</c:v>
                </c:pt>
                <c:pt idx="1">
                  <c:v>0.36274844804064865</c:v>
                </c:pt>
                <c:pt idx="2">
                  <c:v>0.48777824002214221</c:v>
                </c:pt>
                <c:pt idx="3">
                  <c:v>0.588039896909066</c:v>
                </c:pt>
                <c:pt idx="4">
                  <c:v>0.68463767397876518</c:v>
                </c:pt>
                <c:pt idx="5">
                  <c:v>0.77705474976016931</c:v>
                </c:pt>
                <c:pt idx="6">
                  <c:v>0.85182002311601501</c:v>
                </c:pt>
                <c:pt idx="7">
                  <c:v>0.92190357734425532</c:v>
                </c:pt>
                <c:pt idx="8">
                  <c:v>0.97933995491266579</c:v>
                </c:pt>
                <c:pt idx="9">
                  <c:v>0.99944943563949618</c:v>
                </c:pt>
                <c:pt idx="10">
                  <c:v>0.99993550409741194</c:v>
                </c:pt>
                <c:pt idx="11">
                  <c:v>0.99996454860983575</c:v>
                </c:pt>
                <c:pt idx="12">
                  <c:v>0.99998718624451899</c:v>
                </c:pt>
                <c:pt idx="13">
                  <c:v>0.99999359312225955</c:v>
                </c:pt>
                <c:pt idx="14">
                  <c:v>0.99999743724890389</c:v>
                </c:pt>
                <c:pt idx="15">
                  <c:v>0.99999914574963467</c:v>
                </c:pt>
                <c:pt idx="1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8</c:f>
              <c:strCache>
                <c:ptCount val="17"/>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pt idx="11">
                  <c:v>EQUATE CALIBER 5 5 BLADE REFILL NORMAL 8CT</c:v>
                </c:pt>
                <c:pt idx="12">
                  <c:v>EQUATE CALIBER 5 5 BLADE REFILL NORMAL 4CT</c:v>
                </c:pt>
                <c:pt idx="13">
                  <c:v>EQUATE TB (TWIN BLADE) 2 BLADE DISPOSABLE NORMAL 12CT</c:v>
                </c:pt>
                <c:pt idx="14">
                  <c:v>EQUATE CALIBER 5 BLACK 5 BLADE RAZOR NORMAL 2CT</c:v>
                </c:pt>
                <c:pt idx="15">
                  <c:v>EQUATE CALIBER 5 5 BLADE RAZOR NORMAL 2CT</c:v>
                </c:pt>
                <c:pt idx="16">
                  <c:v>EQUATE CALIBER 4 MAX 4 BLADE DISPOSABLE NORMAL 3CT</c:v>
                </c:pt>
              </c:strCache>
            </c:strRef>
          </c:cat>
          <c:val>
            <c:numRef>
              <c:f>Sheet1!$D$2:$D$18</c:f>
              <c:numCache>
                <c:formatCode>General</c:formatCode>
                <c:ptCount val="17"/>
                <c:pt idx="0">
                  <c:v>5807.0109890109889</c:v>
                </c:pt>
                <c:pt idx="1">
                  <c:v>4936.0153846153844</c:v>
                </c:pt>
                <c:pt idx="2">
                  <c:v>3081.3052631578948</c:v>
                </c:pt>
                <c:pt idx="3">
                  <c:v>2862.6341463414633</c:v>
                </c:pt>
                <c:pt idx="4">
                  <c:v>3479.353846153846</c:v>
                </c:pt>
                <c:pt idx="5">
                  <c:v>2923.9189189189187</c:v>
                </c:pt>
                <c:pt idx="6">
                  <c:v>3302.6981132075471</c:v>
                </c:pt>
                <c:pt idx="7">
                  <c:v>1727.1789473684209</c:v>
                </c:pt>
                <c:pt idx="8">
                  <c:v>3361.8</c:v>
                </c:pt>
                <c:pt idx="9">
                  <c:v>1148.3170731707316</c:v>
                </c:pt>
                <c:pt idx="10">
                  <c:v>189.66666666666666</c:v>
                </c:pt>
                <c:pt idx="11">
                  <c:v>68</c:v>
                </c:pt>
                <c:pt idx="12">
                  <c:v>53</c:v>
                </c:pt>
                <c:pt idx="13">
                  <c:v>15</c:v>
                </c:pt>
                <c:pt idx="14">
                  <c:v>9</c:v>
                </c:pt>
                <c:pt idx="15">
                  <c:v>4</c:v>
                </c:pt>
                <c:pt idx="16">
                  <c:v>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CALIBER 5 5 BLADE REFILL NORMAL 4CT</c:v>
                </c:pt>
                <c:pt idx="11">
                  <c:v>EQUATE CALIBER 5 5 BLADE REFILL NORMAL 8CT</c:v>
                </c:pt>
                <c:pt idx="12">
                  <c:v>EQUATE CALIBER 5 5 BLADE REFILL NORMAL 12CT</c:v>
                </c:pt>
                <c:pt idx="13">
                  <c:v>EQUATE TB (TWIN BLADE) 2 BLADE DISPOSABLE NORMAL 12CT</c:v>
                </c:pt>
                <c:pt idx="14">
                  <c:v>EQUATE CALIBER 5 BLACK 5 BLADE RAZOR NORMAL 2CT</c:v>
                </c:pt>
              </c:strCache>
            </c:strRef>
          </c:cat>
          <c:val>
            <c:numRef>
              <c:f>Sheet1!$B$2:$B$16</c:f>
              <c:numCache>
                <c:formatCode>General</c:formatCode>
                <c:ptCount val="15"/>
                <c:pt idx="0">
                  <c:v>0.98</c:v>
                </c:pt>
                <c:pt idx="1">
                  <c:v>0.99</c:v>
                </c:pt>
                <c:pt idx="2">
                  <c:v>0.83</c:v>
                </c:pt>
                <c:pt idx="3">
                  <c:v>0.9</c:v>
                </c:pt>
                <c:pt idx="4">
                  <c:v>0.95</c:v>
                </c:pt>
                <c:pt idx="5">
                  <c:v>0.94</c:v>
                </c:pt>
                <c:pt idx="6">
                  <c:v>0.7</c:v>
                </c:pt>
                <c:pt idx="7">
                  <c:v>0.54</c:v>
                </c:pt>
                <c:pt idx="8">
                  <c:v>0.97</c:v>
                </c:pt>
                <c:pt idx="9">
                  <c:v>0.67</c:v>
                </c:pt>
                <c:pt idx="10">
                  <c:v>0.01</c:v>
                </c:pt>
                <c:pt idx="11">
                  <c:v>0.01</c:v>
                </c:pt>
                <c:pt idx="12">
                  <c:v>0.01</c:v>
                </c:pt>
                <c:pt idx="13">
                  <c:v>0.01</c:v>
                </c:pt>
                <c:pt idx="1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CALIBER 5 5 BLADE REFILL NORMAL 4CT</c:v>
                </c:pt>
                <c:pt idx="11">
                  <c:v>EQUATE CALIBER 5 5 BLADE REFILL NORMAL 8CT</c:v>
                </c:pt>
                <c:pt idx="12">
                  <c:v>EQUATE CALIBER 5 5 BLADE REFILL NORMAL 12CT</c:v>
                </c:pt>
                <c:pt idx="13">
                  <c:v>EQUATE TB (TWIN BLADE) 2 BLADE DISPOSABLE NORMAL 12CT</c:v>
                </c:pt>
                <c:pt idx="14">
                  <c:v>EQUATE CALIBER 5 BLACK 5 BLADE RAZOR NORMAL 2CT</c:v>
                </c:pt>
              </c:strCache>
            </c:strRef>
          </c:cat>
          <c:val>
            <c:numRef>
              <c:f>Sheet1!$C$2:$C$16</c:f>
              <c:numCache>
                <c:formatCode>General</c:formatCode>
                <c:ptCount val="15"/>
                <c:pt idx="0">
                  <c:v>0.25408870138974388</c:v>
                </c:pt>
                <c:pt idx="1">
                  <c:v>0.38459715183326759</c:v>
                </c:pt>
                <c:pt idx="2">
                  <c:v>0.50351937793613022</c:v>
                </c:pt>
                <c:pt idx="3">
                  <c:v>0.61109240586585323</c:v>
                </c:pt>
                <c:pt idx="4">
                  <c:v>0.71019153891961295</c:v>
                </c:pt>
                <c:pt idx="5">
                  <c:v>0.80388262263172749</c:v>
                </c:pt>
                <c:pt idx="6">
                  <c:v>0.86815524125159871</c:v>
                </c:pt>
                <c:pt idx="7">
                  <c:v>0.92750935750832741</c:v>
                </c:pt>
                <c:pt idx="8">
                  <c:v>0.97905166081639194</c:v>
                </c:pt>
                <c:pt idx="9">
                  <c:v>0.99995644748865342</c:v>
                </c:pt>
                <c:pt idx="10">
                  <c:v>0.99997989884091698</c:v>
                </c:pt>
                <c:pt idx="11">
                  <c:v>0.99999036819460607</c:v>
                </c:pt>
                <c:pt idx="12">
                  <c:v>0.99999664980681957</c:v>
                </c:pt>
                <c:pt idx="13">
                  <c:v>0.99999916245170495</c:v>
                </c:pt>
                <c:pt idx="1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6</c:f>
              <c:strCache>
                <c:ptCount val="15"/>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CALIBER 5 5 BLADE REFILL NORMAL 4CT</c:v>
                </c:pt>
                <c:pt idx="11">
                  <c:v>EQUATE CALIBER 5 5 BLADE REFILL NORMAL 8CT</c:v>
                </c:pt>
                <c:pt idx="12">
                  <c:v>EQUATE CALIBER 5 5 BLADE REFILL NORMAL 12CT</c:v>
                </c:pt>
                <c:pt idx="13">
                  <c:v>EQUATE TB (TWIN BLADE) 2 BLADE DISPOSABLE NORMAL 12CT</c:v>
                </c:pt>
                <c:pt idx="14">
                  <c:v>EQUATE CALIBER 5 BLACK 5 BLADE RAZOR NORMAL 2CT</c:v>
                </c:pt>
              </c:strCache>
            </c:strRef>
          </c:cat>
          <c:val>
            <c:numRef>
              <c:f>Sheet1!$D$2:$D$16</c:f>
              <c:numCache>
                <c:formatCode>General</c:formatCode>
                <c:ptCount val="15"/>
                <c:pt idx="0">
                  <c:v>6191.2653061224491</c:v>
                </c:pt>
                <c:pt idx="1">
                  <c:v>3147.9191919191921</c:v>
                </c:pt>
                <c:pt idx="2">
                  <c:v>3421.4096385542171</c:v>
                </c:pt>
                <c:pt idx="3">
                  <c:v>2854.1777777777779</c:v>
                </c:pt>
                <c:pt idx="4">
                  <c:v>2490.9578947368423</c:v>
                </c:pt>
                <c:pt idx="5">
                  <c:v>2380.0744680851062</c:v>
                </c:pt>
                <c:pt idx="6">
                  <c:v>2192.542857142857</c:v>
                </c:pt>
                <c:pt idx="7">
                  <c:v>2624.6851851851852</c:v>
                </c:pt>
                <c:pt idx="8">
                  <c:v>1268.8556701030927</c:v>
                </c:pt>
                <c:pt idx="9">
                  <c:v>745.05970149253733</c:v>
                </c:pt>
                <c:pt idx="10">
                  <c:v>56</c:v>
                </c:pt>
                <c:pt idx="11">
                  <c:v>25</c:v>
                </c:pt>
                <c:pt idx="12">
                  <c:v>15</c:v>
                </c:pt>
                <c:pt idx="13">
                  <c:v>6</c:v>
                </c:pt>
                <c:pt idx="14">
                  <c:v>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pt idx="11">
                  <c:v>EQUATE CALIBER 5 5 BLADE REFILL NORMAL 4CT</c:v>
                </c:pt>
                <c:pt idx="12">
                  <c:v>EQUATE CALIBER 5 5 BLADE REFILL NORMAL 8CT</c:v>
                </c:pt>
                <c:pt idx="13">
                  <c:v>EQUATE CALIBER 5 BLACK 5 BLADE RAZOR NORMAL 2CT</c:v>
                </c:pt>
                <c:pt idx="14">
                  <c:v>EQUATE TB (TWIN BLADE) 2 BLADE DISPOSABLE NORMAL 12CT</c:v>
                </c:pt>
                <c:pt idx="15">
                  <c:v>EQUATE EASY FIT 3 3 BLADE REFILL NORMAL 15CT</c:v>
                </c:pt>
                <c:pt idx="16">
                  <c:v>EQUATE EASY FIT 3 3 BLADE REFILL NORMAL 5CT</c:v>
                </c:pt>
                <c:pt idx="17">
                  <c:v>EQUATE CALIBER 3 3 BLADE DISPOSABLE SENSITIVE 3CT</c:v>
                </c:pt>
                <c:pt idx="18">
                  <c:v>EQUATE CALIBER 4 MAX 4 BLADE DISPOSABLE NORMAL 3CT</c:v>
                </c:pt>
                <c:pt idx="19">
                  <c:v>EQUATE CALIBER 3 3 BLADE RAZOR SENSITIVE 20CT</c:v>
                </c:pt>
                <c:pt idx="20">
                  <c:v>EQUATE EASY FIT 3 3 BLADE RAZOR NORMAL 2CT</c:v>
                </c:pt>
                <c:pt idx="21">
                  <c:v>EQUATE TB (TWIN BLADE) 2 BLADE DISPOSABLE NORMAL 5CT</c:v>
                </c:pt>
                <c:pt idx="22">
                  <c:v>PERSONNA TB (TWIN BLADE) BLUE 2 BLADE DISPOSABLE NORMAL 10CT</c:v>
                </c:pt>
                <c:pt idx="23">
                  <c:v>EQUATE 2 BLADE DISPOSABLE NORMAL 3CT</c:v>
                </c:pt>
                <c:pt idx="24">
                  <c:v>EQUATE CALIBER 5 5 BLADE RAZOR NORMAL 1CT</c:v>
                </c:pt>
                <c:pt idx="25">
                  <c:v>EQUATE CALIBER 5 5 BLADE RAZOR NORMAL 2CT</c:v>
                </c:pt>
                <c:pt idx="26">
                  <c:v>PERSONA M5 MAGNUM 5 BLADE REFILL NORMAL 4CT</c:v>
                </c:pt>
                <c:pt idx="27">
                  <c:v>EQUATE EASY FIT 3 3 BLADE REFILL NORMAL 10CT</c:v>
                </c:pt>
              </c:strCache>
            </c:strRef>
          </c:cat>
          <c:val>
            <c:numRef>
              <c:f>Sheet1!$B$2:$B$29</c:f>
              <c:numCache>
                <c:formatCode>General</c:formatCode>
                <c:ptCount val="28"/>
                <c:pt idx="0">
                  <c:v>0.99</c:v>
                </c:pt>
                <c:pt idx="1">
                  <c:v>0.86</c:v>
                </c:pt>
                <c:pt idx="2">
                  <c:v>0.99</c:v>
                </c:pt>
                <c:pt idx="3">
                  <c:v>0.93</c:v>
                </c:pt>
                <c:pt idx="4">
                  <c:v>0.97</c:v>
                </c:pt>
                <c:pt idx="5">
                  <c:v>0.95</c:v>
                </c:pt>
                <c:pt idx="6">
                  <c:v>0.77</c:v>
                </c:pt>
                <c:pt idx="7">
                  <c:v>0.6</c:v>
                </c:pt>
                <c:pt idx="8">
                  <c:v>0.98</c:v>
                </c:pt>
                <c:pt idx="9">
                  <c:v>0.71</c:v>
                </c:pt>
                <c:pt idx="10">
                  <c:v>0.01</c:v>
                </c:pt>
                <c:pt idx="11">
                  <c:v>0.01</c:v>
                </c:pt>
                <c:pt idx="12">
                  <c:v>0.01</c:v>
                </c:pt>
                <c:pt idx="13">
                  <c:v>0.01</c:v>
                </c:pt>
                <c:pt idx="14">
                  <c:v>0.01</c:v>
                </c:pt>
                <c:pt idx="15">
                  <c:v>0.01</c:v>
                </c:pt>
                <c:pt idx="16">
                  <c:v>0.01</c:v>
                </c:pt>
                <c:pt idx="17">
                  <c:v>0.01</c:v>
                </c:pt>
                <c:pt idx="18">
                  <c:v>0.01</c:v>
                </c:pt>
                <c:pt idx="19">
                  <c:v>0.01</c:v>
                </c:pt>
                <c:pt idx="20">
                  <c:v>0.01</c:v>
                </c:pt>
                <c:pt idx="21">
                  <c:v>0.01</c:v>
                </c:pt>
                <c:pt idx="22">
                  <c:v>0.01</c:v>
                </c:pt>
                <c:pt idx="23">
                  <c:v>0.01</c:v>
                </c:pt>
                <c:pt idx="24">
                  <c:v>0.01</c:v>
                </c:pt>
                <c:pt idx="25">
                  <c:v>0.01</c:v>
                </c:pt>
                <c:pt idx="26">
                  <c:v>0.01</c:v>
                </c:pt>
                <c:pt idx="2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pt idx="11">
                  <c:v>EQUATE CALIBER 5 5 BLADE REFILL NORMAL 4CT</c:v>
                </c:pt>
                <c:pt idx="12">
                  <c:v>EQUATE CALIBER 5 5 BLADE REFILL NORMAL 8CT</c:v>
                </c:pt>
                <c:pt idx="13">
                  <c:v>EQUATE CALIBER 5 BLACK 5 BLADE RAZOR NORMAL 2CT</c:v>
                </c:pt>
                <c:pt idx="14">
                  <c:v>EQUATE TB (TWIN BLADE) 2 BLADE DISPOSABLE NORMAL 12CT</c:v>
                </c:pt>
                <c:pt idx="15">
                  <c:v>EQUATE EASY FIT 3 3 BLADE REFILL NORMAL 15CT</c:v>
                </c:pt>
                <c:pt idx="16">
                  <c:v>EQUATE EASY FIT 3 3 BLADE REFILL NORMAL 5CT</c:v>
                </c:pt>
                <c:pt idx="17">
                  <c:v>EQUATE CALIBER 3 3 BLADE DISPOSABLE SENSITIVE 3CT</c:v>
                </c:pt>
                <c:pt idx="18">
                  <c:v>EQUATE CALIBER 4 MAX 4 BLADE DISPOSABLE NORMAL 3CT</c:v>
                </c:pt>
                <c:pt idx="19">
                  <c:v>EQUATE CALIBER 3 3 BLADE RAZOR SENSITIVE 20CT</c:v>
                </c:pt>
                <c:pt idx="20">
                  <c:v>EQUATE EASY FIT 3 3 BLADE RAZOR NORMAL 2CT</c:v>
                </c:pt>
                <c:pt idx="21">
                  <c:v>EQUATE TB (TWIN BLADE) 2 BLADE DISPOSABLE NORMAL 5CT</c:v>
                </c:pt>
                <c:pt idx="22">
                  <c:v>PERSONNA TB (TWIN BLADE) BLUE 2 BLADE DISPOSABLE NORMAL 10CT</c:v>
                </c:pt>
                <c:pt idx="23">
                  <c:v>EQUATE 2 BLADE DISPOSABLE NORMAL 3CT</c:v>
                </c:pt>
                <c:pt idx="24">
                  <c:v>EQUATE CALIBER 5 5 BLADE RAZOR NORMAL 1CT</c:v>
                </c:pt>
                <c:pt idx="25">
                  <c:v>EQUATE CALIBER 5 5 BLADE RAZOR NORMAL 2CT</c:v>
                </c:pt>
                <c:pt idx="26">
                  <c:v>PERSONA M5 MAGNUM 5 BLADE REFILL NORMAL 4CT</c:v>
                </c:pt>
                <c:pt idx="27">
                  <c:v>EQUATE EASY FIT 3 3 BLADE REFILL NORMAL 10CT</c:v>
                </c:pt>
              </c:strCache>
            </c:strRef>
          </c:cat>
          <c:val>
            <c:numRef>
              <c:f>Sheet1!$C$2:$C$29</c:f>
              <c:numCache>
                <c:formatCode>General</c:formatCode>
                <c:ptCount val="28"/>
                <c:pt idx="0">
                  <c:v>0.254060583800571</c:v>
                </c:pt>
                <c:pt idx="1">
                  <c:v>0.38670761651995117</c:v>
                </c:pt>
                <c:pt idx="2">
                  <c:v>0.49501277628885165</c:v>
                </c:pt>
                <c:pt idx="3">
                  <c:v>0.59953176121269403</c:v>
                </c:pt>
                <c:pt idx="4">
                  <c:v>0.70319822641209506</c:v>
                </c:pt>
                <c:pt idx="5">
                  <c:v>0.79663025235617813</c:v>
                </c:pt>
                <c:pt idx="6">
                  <c:v>0.86486431678298814</c:v>
                </c:pt>
                <c:pt idx="7">
                  <c:v>0.93071472805538014</c:v>
                </c:pt>
                <c:pt idx="8">
                  <c:v>0.97960306534873876</c:v>
                </c:pt>
                <c:pt idx="9">
                  <c:v>0.99988489649573364</c:v>
                </c:pt>
                <c:pt idx="10">
                  <c:v>0.9999576741967795</c:v>
                </c:pt>
                <c:pt idx="11">
                  <c:v>0.99998002115356255</c:v>
                </c:pt>
                <c:pt idx="12">
                  <c:v>0.99998865975327422</c:v>
                </c:pt>
                <c:pt idx="13">
                  <c:v>0.99999119463195407</c:v>
                </c:pt>
                <c:pt idx="14">
                  <c:v>0.99999329591296504</c:v>
                </c:pt>
                <c:pt idx="15">
                  <c:v>0.99999452999863814</c:v>
                </c:pt>
                <c:pt idx="16">
                  <c:v>0.99999543054764284</c:v>
                </c:pt>
                <c:pt idx="17">
                  <c:v>0.99999633109664754</c:v>
                </c:pt>
                <c:pt idx="18">
                  <c:v>0.99999719829198541</c:v>
                </c:pt>
                <c:pt idx="19">
                  <c:v>0.99999793207265586</c:v>
                </c:pt>
                <c:pt idx="20">
                  <c:v>0.99999839902399168</c:v>
                </c:pt>
                <c:pt idx="21">
                  <c:v>0.99999883262166056</c:v>
                </c:pt>
                <c:pt idx="22">
                  <c:v>0.99999906609732847</c:v>
                </c:pt>
                <c:pt idx="23">
                  <c:v>0.99999929957299638</c:v>
                </c:pt>
                <c:pt idx="24">
                  <c:v>0.99999953304866429</c:v>
                </c:pt>
                <c:pt idx="25">
                  <c:v>0.99999973317066537</c:v>
                </c:pt>
                <c:pt idx="26">
                  <c:v>0.99999989993899963</c:v>
                </c:pt>
                <c:pt idx="27">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9</c:f>
              <c:strCache>
                <c:ptCount val="28"/>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pt idx="11">
                  <c:v>EQUATE CALIBER 5 5 BLADE REFILL NORMAL 4CT</c:v>
                </c:pt>
                <c:pt idx="12">
                  <c:v>EQUATE CALIBER 5 5 BLADE REFILL NORMAL 8CT</c:v>
                </c:pt>
                <c:pt idx="13">
                  <c:v>EQUATE CALIBER 5 BLACK 5 BLADE RAZOR NORMAL 2CT</c:v>
                </c:pt>
                <c:pt idx="14">
                  <c:v>EQUATE TB (TWIN BLADE) 2 BLADE DISPOSABLE NORMAL 12CT</c:v>
                </c:pt>
                <c:pt idx="15">
                  <c:v>EQUATE EASY FIT 3 3 BLADE REFILL NORMAL 15CT</c:v>
                </c:pt>
                <c:pt idx="16">
                  <c:v>EQUATE EASY FIT 3 3 BLADE REFILL NORMAL 5CT</c:v>
                </c:pt>
                <c:pt idx="17">
                  <c:v>EQUATE CALIBER 3 3 BLADE DISPOSABLE SENSITIVE 3CT</c:v>
                </c:pt>
                <c:pt idx="18">
                  <c:v>EQUATE CALIBER 4 MAX 4 BLADE DISPOSABLE NORMAL 3CT</c:v>
                </c:pt>
                <c:pt idx="19">
                  <c:v>EQUATE CALIBER 3 3 BLADE RAZOR SENSITIVE 20CT</c:v>
                </c:pt>
                <c:pt idx="20">
                  <c:v>EQUATE EASY FIT 3 3 BLADE RAZOR NORMAL 2CT</c:v>
                </c:pt>
                <c:pt idx="21">
                  <c:v>EQUATE TB (TWIN BLADE) 2 BLADE DISPOSABLE NORMAL 5CT</c:v>
                </c:pt>
                <c:pt idx="22">
                  <c:v>PERSONNA TB (TWIN BLADE) BLUE 2 BLADE DISPOSABLE NORMAL 10CT</c:v>
                </c:pt>
                <c:pt idx="23">
                  <c:v>EQUATE 2 BLADE DISPOSABLE NORMAL 3CT</c:v>
                </c:pt>
                <c:pt idx="24">
                  <c:v>EQUATE CALIBER 5 5 BLADE RAZOR NORMAL 1CT</c:v>
                </c:pt>
                <c:pt idx="25">
                  <c:v>EQUATE CALIBER 5 5 BLADE RAZOR NORMAL 2CT</c:v>
                </c:pt>
                <c:pt idx="26">
                  <c:v>PERSONA M5 MAGNUM 5 BLADE REFILL NORMAL 4CT</c:v>
                </c:pt>
                <c:pt idx="27">
                  <c:v>EQUATE EASY FIT 3 3 BLADE REFILL NORMAL 10CT</c:v>
                </c:pt>
              </c:strCache>
            </c:strRef>
          </c:cat>
          <c:val>
            <c:numRef>
              <c:f>Sheet1!$D$2:$D$29</c:f>
              <c:numCache>
                <c:formatCode>General</c:formatCode>
                <c:ptCount val="28"/>
                <c:pt idx="0">
                  <c:v>76941.121212121216</c:v>
                </c:pt>
                <c:pt idx="1">
                  <c:v>46244.011627906977</c:v>
                </c:pt>
                <c:pt idx="2">
                  <c:v>32799.737373737371</c:v>
                </c:pt>
                <c:pt idx="3">
                  <c:v>33695.247311827959</c:v>
                </c:pt>
                <c:pt idx="4">
                  <c:v>32042.247422680412</c:v>
                </c:pt>
                <c:pt idx="5">
                  <c:v>29486.863157894735</c:v>
                </c:pt>
                <c:pt idx="6">
                  <c:v>26568.493506493505</c:v>
                </c:pt>
                <c:pt idx="7">
                  <c:v>32905.133333333331</c:v>
                </c:pt>
                <c:pt idx="8">
                  <c:v>14956.693877551021</c:v>
                </c:pt>
                <c:pt idx="9">
                  <c:v>8564.5633802816901</c:v>
                </c:pt>
                <c:pt idx="10">
                  <c:v>2182</c:v>
                </c:pt>
                <c:pt idx="11">
                  <c:v>670</c:v>
                </c:pt>
                <c:pt idx="12">
                  <c:v>259</c:v>
                </c:pt>
                <c:pt idx="13">
                  <c:v>76</c:v>
                </c:pt>
                <c:pt idx="14">
                  <c:v>63</c:v>
                </c:pt>
                <c:pt idx="15">
                  <c:v>37</c:v>
                </c:pt>
                <c:pt idx="16">
                  <c:v>27</c:v>
                </c:pt>
                <c:pt idx="17">
                  <c:v>27</c:v>
                </c:pt>
                <c:pt idx="18">
                  <c:v>26</c:v>
                </c:pt>
                <c:pt idx="19">
                  <c:v>22</c:v>
                </c:pt>
                <c:pt idx="20">
                  <c:v>14</c:v>
                </c:pt>
                <c:pt idx="21">
                  <c:v>13</c:v>
                </c:pt>
                <c:pt idx="22">
                  <c:v>7</c:v>
                </c:pt>
                <c:pt idx="23">
                  <c:v>7</c:v>
                </c:pt>
                <c:pt idx="24">
                  <c:v>7</c:v>
                </c:pt>
                <c:pt idx="25">
                  <c:v>6</c:v>
                </c:pt>
                <c:pt idx="26">
                  <c:v>5</c:v>
                </c:pt>
                <c:pt idx="27">
                  <c:v>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4</c:f>
              <c:strCache>
                <c:ptCount val="13"/>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pt idx="7">
                  <c:v>EQUATE TB (TWIN BLADE) 2 BLADE DISPOSABLE NORMAL 12CT</c:v>
                </c:pt>
                <c:pt idx="8">
                  <c:v>EQUATE CALIBER 4 MAX 4 BLADE DISPOSABLE NORMAL 3CT</c:v>
                </c:pt>
                <c:pt idx="9">
                  <c:v>EQUATE CALIBER 3 3 BLADE DISPOSABLE SENSITIVE 3CT</c:v>
                </c:pt>
                <c:pt idx="10">
                  <c:v>EQUATE TB (TWIN BLADE) 2 BLADE DISPOSABLE NORMAL 5CT</c:v>
                </c:pt>
                <c:pt idx="11">
                  <c:v>EQUATE 2 BLADE DISPOSABLE NORMAL 3CT</c:v>
                </c:pt>
                <c:pt idx="12">
                  <c:v>PERSONNA TB (TWIN BLADE) BLUE 2 BLADE DISPOSABLE NORMAL 10CT</c:v>
                </c:pt>
              </c:strCache>
            </c:strRef>
          </c:cat>
          <c:val>
            <c:numRef>
              <c:f>Sheet1!$B$2:$B$14</c:f>
              <c:numCache>
                <c:formatCode>General</c:formatCode>
                <c:ptCount val="13"/>
                <c:pt idx="0">
                  <c:v>0.98499999999999999</c:v>
                </c:pt>
                <c:pt idx="1">
                  <c:v>0.98799999999999999</c:v>
                </c:pt>
                <c:pt idx="2">
                  <c:v>0.91100000000000003</c:v>
                </c:pt>
                <c:pt idx="3">
                  <c:v>0.95899999999999996</c:v>
                </c:pt>
                <c:pt idx="4">
                  <c:v>0.93799999999999994</c:v>
                </c:pt>
                <c:pt idx="5">
                  <c:v>0.97799999999999998</c:v>
                </c:pt>
                <c:pt idx="6">
                  <c:v>1.2E-2</c:v>
                </c:pt>
                <c:pt idx="7">
                  <c:v>0.01</c:v>
                </c:pt>
                <c:pt idx="8">
                  <c:v>8.9999999999999993E-3</c:v>
                </c:pt>
                <c:pt idx="9">
                  <c:v>8.9999999999999993E-3</c:v>
                </c:pt>
                <c:pt idx="10">
                  <c:v>8.9999999999999993E-3</c:v>
                </c:pt>
                <c:pt idx="11">
                  <c:v>8.9999999999999993E-3</c:v>
                </c:pt>
                <c:pt idx="12">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4</c:f>
              <c:strCache>
                <c:ptCount val="13"/>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pt idx="7">
                  <c:v>EQUATE TB (TWIN BLADE) 2 BLADE DISPOSABLE NORMAL 12CT</c:v>
                </c:pt>
                <c:pt idx="8">
                  <c:v>EQUATE CALIBER 4 MAX 4 BLADE DISPOSABLE NORMAL 3CT</c:v>
                </c:pt>
                <c:pt idx="9">
                  <c:v>EQUATE CALIBER 3 3 BLADE DISPOSABLE SENSITIVE 3CT</c:v>
                </c:pt>
                <c:pt idx="10">
                  <c:v>EQUATE TB (TWIN BLADE) 2 BLADE DISPOSABLE NORMAL 5CT</c:v>
                </c:pt>
                <c:pt idx="11">
                  <c:v>EQUATE 2 BLADE DISPOSABLE NORMAL 3CT</c:v>
                </c:pt>
                <c:pt idx="12">
                  <c:v>PERSONNA TB (TWIN BLADE) BLUE 2 BLADE DISPOSABLE NORMAL 10CT</c:v>
                </c:pt>
              </c:strCache>
            </c:strRef>
          </c:cat>
          <c:val>
            <c:numRef>
              <c:f>Sheet1!$C$2:$C$14</c:f>
              <c:numCache>
                <c:formatCode>General</c:formatCode>
                <c:ptCount val="13"/>
                <c:pt idx="0">
                  <c:v>0.35294857038608318</c:v>
                </c:pt>
                <c:pt idx="1">
                  <c:v>0.50826637380214235</c:v>
                </c:pt>
                <c:pt idx="2">
                  <c:v>0.65411358436675093</c:v>
                </c:pt>
                <c:pt idx="3">
                  <c:v>0.79793920544770591</c:v>
                </c:pt>
                <c:pt idx="4">
                  <c:v>0.92917105515832965</c:v>
                </c:pt>
                <c:pt idx="5">
                  <c:v>0.99985942309269671</c:v>
                </c:pt>
                <c:pt idx="6">
                  <c:v>0.99999330586155688</c:v>
                </c:pt>
                <c:pt idx="7">
                  <c:v>0.99999669325691354</c:v>
                </c:pt>
                <c:pt idx="8">
                  <c:v>0.99999782238869905</c:v>
                </c:pt>
                <c:pt idx="9">
                  <c:v>0.99999891119434947</c:v>
                </c:pt>
                <c:pt idx="10">
                  <c:v>0.99999943543410708</c:v>
                </c:pt>
                <c:pt idx="11">
                  <c:v>0.99999971771705343</c:v>
                </c:pt>
                <c:pt idx="12">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4</c:f>
              <c:strCache>
                <c:ptCount val="13"/>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pt idx="7">
                  <c:v>EQUATE TB (TWIN BLADE) 2 BLADE DISPOSABLE NORMAL 12CT</c:v>
                </c:pt>
                <c:pt idx="8">
                  <c:v>EQUATE CALIBER 4 MAX 4 BLADE DISPOSABLE NORMAL 3CT</c:v>
                </c:pt>
                <c:pt idx="9">
                  <c:v>EQUATE CALIBER 3 3 BLADE DISPOSABLE SENSITIVE 3CT</c:v>
                </c:pt>
                <c:pt idx="10">
                  <c:v>EQUATE TB (TWIN BLADE) 2 BLADE DISPOSABLE NORMAL 5CT</c:v>
                </c:pt>
                <c:pt idx="11">
                  <c:v>EQUATE 2 BLADE DISPOSABLE NORMAL 3CT</c:v>
                </c:pt>
                <c:pt idx="12">
                  <c:v>PERSONNA TB (TWIN BLADE) BLUE 2 BLADE DISPOSABLE NORMAL 10CT</c:v>
                </c:pt>
              </c:strCache>
            </c:strRef>
          </c:cat>
          <c:val>
            <c:numRef>
              <c:f>Sheet1!$D$2:$D$14</c:f>
              <c:numCache>
                <c:formatCode>General</c:formatCode>
                <c:ptCount val="13"/>
                <c:pt idx="0">
                  <c:v>88856.375634517768</c:v>
                </c:pt>
                <c:pt idx="1">
                  <c:v>38983.218623481785</c:v>
                </c:pt>
                <c:pt idx="2">
                  <c:v>39700.241492864981</c:v>
                </c:pt>
                <c:pt idx="3">
                  <c:v>37190.417101147032</c:v>
                </c:pt>
                <c:pt idx="4">
                  <c:v>34693.635394456294</c:v>
                </c:pt>
                <c:pt idx="5">
                  <c:v>17923.486707566462</c:v>
                </c:pt>
                <c:pt idx="6">
                  <c:v>2766.666666666667</c:v>
                </c:pt>
                <c:pt idx="7">
                  <c:v>84</c:v>
                </c:pt>
                <c:pt idx="8">
                  <c:v>31.111111111111114</c:v>
                </c:pt>
                <c:pt idx="9">
                  <c:v>30.000000000000004</c:v>
                </c:pt>
                <c:pt idx="10">
                  <c:v>14.444444444444446</c:v>
                </c:pt>
                <c:pt idx="11">
                  <c:v>7.7777777777777786</c:v>
                </c:pt>
                <c:pt idx="12">
                  <c:v>7.777777777777778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PBG PL 2 BLADE DISPOSABLE NORMAL 52CT</c:v>
                </c:pt>
              </c:strCache>
            </c:strRef>
          </c:cat>
          <c:val>
            <c:numRef>
              <c:f>Sheet1!$B$2:$B$2</c:f>
              <c:numCache>
                <c:formatCode>General</c:formatCode>
                <c:ptCount val="1"/>
                <c:pt idx="0">
                  <c:v>0.5799999999999999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PBG PL 2 BLADE DISPOSABLE NORMAL 52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PBG PL 2 BLADE DISPOSABLE NORMAL 52CT</c:v>
                </c:pt>
              </c:strCache>
            </c:strRef>
          </c:cat>
          <c:val>
            <c:numRef>
              <c:f>Sheet1!$D$2:$D$2</c:f>
              <c:numCache>
                <c:formatCode>General</c:formatCode>
                <c:ptCount val="1"/>
                <c:pt idx="0">
                  <c:v>1131.68965517241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pt idx="7">
                  <c:v>EQUATE TB (TWIN BLADE) 2 BLADE DISPOSABLE NORMAL 12CT</c:v>
                </c:pt>
                <c:pt idx="8">
                  <c:v>EQUATE CALIBER 4 MAX 4 BLADE DISPOSABLE NORMAL 3CT</c:v>
                </c:pt>
              </c:strCache>
            </c:strRef>
          </c:cat>
          <c:val>
            <c:numRef>
              <c:f>Sheet1!$B$2:$B$10</c:f>
              <c:numCache>
                <c:formatCode>General</c:formatCode>
                <c:ptCount val="9"/>
                <c:pt idx="0">
                  <c:v>0.91</c:v>
                </c:pt>
                <c:pt idx="1">
                  <c:v>0.95</c:v>
                </c:pt>
                <c:pt idx="2">
                  <c:v>0.82</c:v>
                </c:pt>
                <c:pt idx="3">
                  <c:v>0.65</c:v>
                </c:pt>
                <c:pt idx="4">
                  <c:v>0.74</c:v>
                </c:pt>
                <c:pt idx="5">
                  <c:v>0.95</c:v>
                </c:pt>
                <c:pt idx="6">
                  <c:v>0.06</c:v>
                </c:pt>
                <c:pt idx="7">
                  <c:v>0.01</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pt idx="7">
                  <c:v>EQUATE TB (TWIN BLADE) 2 BLADE DISPOSABLE NORMAL 12CT</c:v>
                </c:pt>
                <c:pt idx="8">
                  <c:v>EQUATE CALIBER 4 MAX 4 BLADE DISPOSABLE NORMAL 3CT</c:v>
                </c:pt>
              </c:strCache>
            </c:strRef>
          </c:cat>
          <c:val>
            <c:numRef>
              <c:f>Sheet1!$C$2:$C$10</c:f>
              <c:numCache>
                <c:formatCode>General</c:formatCode>
                <c:ptCount val="9"/>
                <c:pt idx="0">
                  <c:v>0.31763524223355327</c:v>
                </c:pt>
                <c:pt idx="1">
                  <c:v>0.49358674202648012</c:v>
                </c:pt>
                <c:pt idx="2">
                  <c:v>0.63468262502682338</c:v>
                </c:pt>
                <c:pt idx="3">
                  <c:v>0.77062241571760626</c:v>
                </c:pt>
                <c:pt idx="4">
                  <c:v>0.90067880333937822</c:v>
                </c:pt>
                <c:pt idx="5">
                  <c:v>0.99930574882052436</c:v>
                </c:pt>
                <c:pt idx="6">
                  <c:v>0.99998978158437135</c:v>
                </c:pt>
                <c:pt idx="7">
                  <c:v>0.99999879783345547</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pt idx="7">
                  <c:v>EQUATE TB (TWIN BLADE) 2 BLADE DISPOSABLE NORMAL 12CT</c:v>
                </c:pt>
                <c:pt idx="8">
                  <c:v>EQUATE CALIBER 4 MAX 4 BLADE DISPOSABLE NORMAL 3CT</c:v>
                </c:pt>
              </c:strCache>
            </c:strRef>
          </c:cat>
          <c:val>
            <c:numRef>
              <c:f>Sheet1!$D$2:$D$10</c:f>
              <c:numCache>
                <c:formatCode>General</c:formatCode>
                <c:ptCount val="9"/>
                <c:pt idx="0">
                  <c:v>5807.0109890109889</c:v>
                </c:pt>
                <c:pt idx="1">
                  <c:v>3081.3052631578948</c:v>
                </c:pt>
                <c:pt idx="2">
                  <c:v>2862.6341463414633</c:v>
                </c:pt>
                <c:pt idx="3">
                  <c:v>3479.353846153846</c:v>
                </c:pt>
                <c:pt idx="4">
                  <c:v>2923.9189189189187</c:v>
                </c:pt>
                <c:pt idx="5">
                  <c:v>1727.1789473684209</c:v>
                </c:pt>
                <c:pt idx="6">
                  <c:v>189.66666666666666</c:v>
                </c:pt>
                <c:pt idx="7">
                  <c:v>15</c:v>
                </c:pt>
                <c:pt idx="8">
                  <c:v>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pt idx="6">
                  <c:v>EQUATE TB (TWIN BLADE) 2 BLADE DISPOSABLE NORMAL 12CT</c:v>
                </c:pt>
              </c:strCache>
            </c:strRef>
          </c:cat>
          <c:val>
            <c:numRef>
              <c:f>Sheet1!$B$2:$B$8</c:f>
              <c:numCache>
                <c:formatCode>General</c:formatCode>
                <c:ptCount val="7"/>
                <c:pt idx="0">
                  <c:v>0.98</c:v>
                </c:pt>
                <c:pt idx="1">
                  <c:v>0.99</c:v>
                </c:pt>
                <c:pt idx="2">
                  <c:v>0.9</c:v>
                </c:pt>
                <c:pt idx="3">
                  <c:v>0.95</c:v>
                </c:pt>
                <c:pt idx="4">
                  <c:v>0.94</c:v>
                </c:pt>
                <c:pt idx="5">
                  <c:v>0.97</c:v>
                </c:pt>
                <c:pt idx="6">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pt idx="6">
                  <c:v>EQUATE TB (TWIN BLADE) 2 BLADE DISPOSABLE NORMAL 12CT</c:v>
                </c:pt>
              </c:strCache>
            </c:strRef>
          </c:cat>
          <c:val>
            <c:numRef>
              <c:f>Sheet1!$C$2:$C$8</c:f>
              <c:numCache>
                <c:formatCode>General</c:formatCode>
                <c:ptCount val="7"/>
                <c:pt idx="0">
                  <c:v>0.34499240071029053</c:v>
                </c:pt>
                <c:pt idx="1">
                  <c:v>0.52219202975805656</c:v>
                </c:pt>
                <c:pt idx="2">
                  <c:v>0.66825077599181681</c:v>
                </c:pt>
                <c:pt idx="3">
                  <c:v>0.8028039758528519</c:v>
                </c:pt>
                <c:pt idx="4">
                  <c:v>0.93001432294109865</c:v>
                </c:pt>
                <c:pt idx="5">
                  <c:v>0.99999658842212824</c:v>
                </c:pt>
                <c:pt idx="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pt idx="6">
                  <c:v>EQUATE TB (TWIN BLADE) 2 BLADE DISPOSABLE NORMAL 12CT</c:v>
                </c:pt>
              </c:strCache>
            </c:strRef>
          </c:cat>
          <c:val>
            <c:numRef>
              <c:f>Sheet1!$D$2:$D$8</c:f>
              <c:numCache>
                <c:formatCode>General</c:formatCode>
                <c:ptCount val="7"/>
                <c:pt idx="0">
                  <c:v>6191.2653061224491</c:v>
                </c:pt>
                <c:pt idx="1">
                  <c:v>3147.9191919191921</c:v>
                </c:pt>
                <c:pt idx="2">
                  <c:v>2854.1777777777779</c:v>
                </c:pt>
                <c:pt idx="3">
                  <c:v>2490.9578947368423</c:v>
                </c:pt>
                <c:pt idx="4">
                  <c:v>2380.0744680851062</c:v>
                </c:pt>
                <c:pt idx="5">
                  <c:v>1268.8556701030927</c:v>
                </c:pt>
                <c:pt idx="6">
                  <c:v>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9/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9/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9/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9/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9/9/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1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1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1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1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1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1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1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1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1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1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1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1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1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1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1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1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1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1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1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1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1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1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1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1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6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6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6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6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17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17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17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17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17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17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17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17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17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17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18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18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18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18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18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18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18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18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18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18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19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19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19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19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19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19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19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19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19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19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0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0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0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0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0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0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0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0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0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0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1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1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1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1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1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1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1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17.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18.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19.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20.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21.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22.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23.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24.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25.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26.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27.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28.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29.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30.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3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32.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33.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34.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35.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36.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37.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38.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39.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40.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41.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42.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43.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44.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45.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46.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4925674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27247956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94875748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08714890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58418077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37626802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77246643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80606959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12694682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326084481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237250230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11245108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426964135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339935963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405364905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411472024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165322122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223821880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368807209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INTIMATE BLACK 5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3 SENSITIVE BLUE GRAY 3 BLADE DISPOSABLE SENSITIVE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rem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REMO HERITAGE BLACK HOLIDAY GIFT PACK REM BLADES RAZOR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Comfort 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COMFORT 3 HYBRID 2 BLADE HYBRID NORMAL 2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SILVER BLACK 3 BLADE RAZOR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339025508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7281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7281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1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7281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7281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72810">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BG PL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72810">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3 3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7281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3 BLADE DISPOSABLE SENSITIVE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7281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HOLIDAY GIFT PACK 6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7281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GREEN HOLIDAY GIFT PACK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7281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101921963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369832266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199885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10768382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198043127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BLUE 2 BLADE DISPOSABLE NORMAL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SPEED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5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63362319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364822">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3 SENSITIVE BLUE GRAY 3 BLADE DISPOSABLE SENSITIVE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EASYRINSE 4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117551677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469057">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69057">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BG PL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3 BLADE DISPOSABLE SENSITIVE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425127700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COMFORT 3 MULTI COLOR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4 4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215525481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BLUE 2 BLADE DISPOSABLE NORMAL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BASE 3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32737899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BLUE 2 BLADE DISPOSABLE NORMAL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5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SPEED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413091229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322644555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INTIMATE BLACK 5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52569">
                <a:tc>
                  <a:txBody>
                    <a:bodyPr/>
                    <a:lstStyle/>
                    <a:p>
                      <a:pPr algn="ctr">
                        <a:defRPr sz="800">
                          <a:latin typeface="Nexa Book"/>
                        </a:defRPr>
                      </a:pPr>
                      <a:r>
                        <a:t>Crem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REMO HERITAGE BLACK HOLIDAY GIFT PACK REM BLADES RAZOR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252569">
                <a:tc>
                  <a:txBody>
                    <a:bodyPr/>
                    <a:lstStyle/>
                    <a:p>
                      <a:pPr algn="ctr">
                        <a:defRPr sz="800">
                          <a:latin typeface="Nexa Book"/>
                        </a:defRPr>
                      </a:pPr>
                      <a:r>
                        <a:t>Comfort 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COMFORT 3 HYBRID 2 BLADE HYBRID NORMAL 2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52569">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SILVER BLACK 3 BLADE RAZOR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52569">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IPS NORELCO ONE BLADE 1 BLADE REFILL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140445329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73616">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73616">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73616">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73616">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1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73616">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73616">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73616">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73616">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73616">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3 3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73616">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HOLIDAY GIFT PACK 6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73616">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GREEN HOLIDAY GIFT PACK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73616">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3307023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01767540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275222338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124444996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125209883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EFILL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39756111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IPS NORELCO ONE BLADE 1 BLADE REFILL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174687502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225212000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EFILL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39355599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EFILL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217834836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EFILL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EFILL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20701294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CRAFT HANDLE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BLACK HOLIDAY GIFT PACK 5 BLADE RAZOR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AZOR SENSITIVE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34522548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48219489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INTIMATE BLACK 5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rem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REMO HERITAGE BLACK HOLIDAY GIFT PACK REM BLADES RAZOR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SILVER BLACK 3 BLADE RAZOR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301467415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1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3 3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HOLIDAY GIFT PACK 6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GREEN HOLIDAY GIFT PACK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201310448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AZOR SENSITIVE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SILVER BLACK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RED BLUE WHITE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45491617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AZOR SENSITIVE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CRAFT HANDLE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SILVER BLACK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175189045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CRAFT HANDLE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BLACK HOLIDAY GIFT PACK 5 BLADE RAZOR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20834974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629778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322847425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2803589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160873542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2244492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81844947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873472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299793759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7736581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39075752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81375762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0534114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400204653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Cremo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282413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208650128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0766547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118757565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3690920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414995777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744305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5113575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8435115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94124547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576584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556956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944531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93476395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3942761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28552127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5412906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35083601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68389589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090239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345493958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3554730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27871733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9104041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192139856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6749500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244091440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9696763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217148386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2565040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282199055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4419037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295752717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038525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15755919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5410424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03235269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958236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617005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345547999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Cremo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144808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197812053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7639987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350872571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048196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197252502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815351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166644359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509067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223482261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7382899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324428488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0543172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170420551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5017687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164431960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4019505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26815336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5732983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31820139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863960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3853418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235542223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721172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386559201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5749526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311868361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8359838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63501950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1704266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58426978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816674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313739968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3549904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405206046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7001967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296700683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806080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174861321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970426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233387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99500050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6622013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123704531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Cremo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9276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20339201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6840758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122885867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0608799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64008220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712376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4167365568"/>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147554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33717347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4634369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79734841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4753656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98548406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972668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144718685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5290002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1051254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17471911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50983504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151447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43272614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0502474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293551201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Cremo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154911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216534954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5657569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3066120419"/>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8825719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423371609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1344545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235421066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8358618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124608426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9793053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09680779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8850377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375274587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1580215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22764775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90711688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374707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1330042172"/>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8438614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274403500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0256410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264813956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5092027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17096897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63366348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410532178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9741940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3228094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7302424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160764706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6150173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153930058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63781409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384560071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7924308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1628541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15861721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1976148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164729245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Cremo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0838869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159044284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4361563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354168888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6705526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102926206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724924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217697905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8550349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294084432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8654628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16922338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1958732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233122895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9936149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360816314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9306802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34191267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38227598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3928095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78029457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1652634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425008621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782932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357273982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2882014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33688154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4613981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289741792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2573607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385124185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922909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72306144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1907235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2444302058"/>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1256848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377624478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2812659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79279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28879515"/>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8825853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340550448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0234780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132434970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Cremo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1037603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92755264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437722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15166493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9206653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206403849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8584934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325577177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8875971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99986714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328941582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Bj's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263011046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Div1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26253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63937660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Sc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233785927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Nm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79070196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74761433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Nm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944736321"/>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Sc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217821488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Div1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421966387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Bj's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217716021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380163615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Div1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364885985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Nm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16172115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1712174605"/>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Sc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260935269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62757032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Nm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404794070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Div1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369906575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Sc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117992030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208131485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3329241881"/>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44391167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415357739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4148124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383871316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32726025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312741839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74746143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740851278"/>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208156240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3348798508"/>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47698837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2234829334"/>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72710691"/>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36491418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661268478"/>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239436022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3862617158"/>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57198553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2304970530"/>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104781791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3980069977"/>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315411058"/>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4062781160"/>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4151075253"/>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32702551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266618131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293873936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16232861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108483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902845071"/>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1676601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996346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966611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6609170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39200461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8209926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15028427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1211481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38113841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9163065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27338265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2868236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42670954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1535093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31196616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6836075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36836524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1352298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6890626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11186443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28020163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4918654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1108811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7356525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2358585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32062338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1522513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5308342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30270901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7341574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5018827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0897707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42561389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3681044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6286468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8401098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6</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60621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35907295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4561760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5</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2628962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6</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4849896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6</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33523542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3659348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5796267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414933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2961011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696460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14289805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9704752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33761832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36449620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268563273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42745688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42900795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39683102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29593258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2340716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24183479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317051995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1201106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7338303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37804800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28756048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30562803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21447805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172336918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189138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137073161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79293936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40930378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296214918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228880492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343533065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80868352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394465742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53005932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167024208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1937371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10</TotalTime>
  <Words>24431</Words>
  <Application>Microsoft Office PowerPoint</Application>
  <PresentationFormat>On-screen Show (16:9)</PresentationFormat>
  <Paragraphs>6807</Paragraphs>
  <Slides>294</Slides>
  <Notes>6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94</vt:i4>
      </vt:variant>
    </vt:vector>
  </HeadingPairs>
  <TitlesOfParts>
    <vt:vector size="30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i SALEM</cp:lastModifiedBy>
  <cp:revision>23</cp:revision>
  <dcterms:created xsi:type="dcterms:W3CDTF">2024-07-05T14:32:36Z</dcterms:created>
  <dcterms:modified xsi:type="dcterms:W3CDTF">2025-09-09T13:4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